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751" r:id="rId4"/>
  </p:sldMasterIdLst>
  <p:notesMasterIdLst>
    <p:notesMasterId r:id="rId17"/>
  </p:notesMasterIdLst>
  <p:handoutMasterIdLst>
    <p:handoutMasterId r:id="rId18"/>
  </p:handoutMasterIdLst>
  <p:sldIdLst>
    <p:sldId id="758" r:id="rId5"/>
    <p:sldId id="746" r:id="rId6"/>
    <p:sldId id="749" r:id="rId7"/>
    <p:sldId id="747" r:id="rId8"/>
    <p:sldId id="748" r:id="rId9"/>
    <p:sldId id="751" r:id="rId10"/>
    <p:sldId id="759" r:id="rId11"/>
    <p:sldId id="752" r:id="rId12"/>
    <p:sldId id="753" r:id="rId13"/>
    <p:sldId id="760" r:id="rId14"/>
    <p:sldId id="754" r:id="rId15"/>
    <p:sldId id="756" r:id="rId16"/>
  </p:sldIdLst>
  <p:sldSz cx="9906000" cy="6858000" type="A4"/>
  <p:notesSz cx="6794500" cy="9931400"/>
  <p:embeddedFontLst>
    <p:embeddedFont>
      <p:font typeface="IBM Plex Sans" panose="020B0503050203000203" pitchFamily="34" charset="0"/>
      <p:regular r:id="rId19"/>
      <p:bold r:id="rId20"/>
      <p:italic r:id="rId21"/>
      <p:boldItalic r:id="rId22"/>
    </p:embeddedFont>
    <p:embeddedFont>
      <p:font typeface="IBM Plex Sans Light" panose="020B0403050203000203" pitchFamily="34" charset="0"/>
      <p:regular r:id="rId23"/>
      <p:italic r:id="rId24"/>
    </p:embeddedFont>
    <p:embeddedFont>
      <p:font typeface="IBM Plex Sans SemiBold" panose="020B0703050203000203" pitchFamily="34" charset="0"/>
      <p:regular r:id="rId25"/>
      <p:bold r:id="rId26"/>
      <p:italic r:id="rId27"/>
      <p:boldItalic r:id="rId28"/>
    </p:embeddedFont>
    <p:embeddedFont>
      <p:font typeface="Open Sans" panose="020B0606030504020204" pitchFamily="34" charset="0"/>
      <p:regular r:id="rId29"/>
      <p:bold r:id="rId30"/>
      <p:italic r:id="rId31"/>
      <p:boldItalic r:id="rId32"/>
    </p:embeddedFont>
    <p:embeddedFont>
      <p:font typeface="Poppins Medium" panose="00000600000000000000" pitchFamily="2" charset="0"/>
      <p:regular r:id="rId33"/>
      <p:italic r:id="rId34"/>
    </p:embeddedFont>
    <p:embeddedFont>
      <p:font typeface="Raleway" panose="020B0503030101060003" pitchFamily="34" charset="0"/>
      <p:regular r:id="rId35"/>
      <p:bold r:id="rId36"/>
      <p:italic r:id="rId37"/>
      <p:boldItalic r:id="rId38"/>
    </p:embeddedFont>
  </p:embeddedFontLst>
  <p:custDataLst>
    <p:tags r:id="rId39"/>
  </p:custDataLst>
  <p:defaultTextStyle>
    <a:defPPr>
      <a:defRPr lang="en-US"/>
    </a:defPPr>
    <a:lvl1pPr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une johansen" initials="rj" lastIdx="1" clrIdx="0">
    <p:extLst>
      <p:ext uri="{19B8F6BF-5375-455C-9EA6-DF929625EA0E}">
        <p15:presenceInfo xmlns:p15="http://schemas.microsoft.com/office/powerpoint/2012/main" userId="a5ca7d38af8eb9e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D8C7"/>
    <a:srgbClr val="BFBFBF"/>
    <a:srgbClr val="F5FFC3"/>
    <a:srgbClr val="509AAF"/>
    <a:srgbClr val="E614D7"/>
    <a:srgbClr val="1EABD9"/>
    <a:srgbClr val="1994CB"/>
    <a:srgbClr val="107AAB"/>
    <a:srgbClr val="064F67"/>
    <a:srgbClr val="0540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96" autoAdjust="0"/>
    <p:restoredTop sz="95673" autoAdjust="0"/>
  </p:normalViewPr>
  <p:slideViewPr>
    <p:cSldViewPr snapToGrid="0">
      <p:cViewPr varScale="1">
        <p:scale>
          <a:sx n="81" d="100"/>
          <a:sy n="81" d="100"/>
        </p:scale>
        <p:origin x="1186" y="6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346"/>
    </p:cViewPr>
  </p:sorterViewPr>
  <p:notesViewPr>
    <p:cSldViewPr snapToGrid="0">
      <p:cViewPr varScale="1">
        <p:scale>
          <a:sx n="63" d="100"/>
          <a:sy n="63" d="100"/>
        </p:scale>
        <p:origin x="341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9" Type="http://schemas.openxmlformats.org/officeDocument/2006/relationships/tags" Target="tags/tag1.xml"/><Relationship Id="rId21" Type="http://schemas.openxmlformats.org/officeDocument/2006/relationships/font" Target="fonts/font3.fntdata"/><Relationship Id="rId34" Type="http://schemas.openxmlformats.org/officeDocument/2006/relationships/font" Target="fonts/font16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32" Type="http://schemas.openxmlformats.org/officeDocument/2006/relationships/font" Target="fonts/font14.fntdata"/><Relationship Id="rId37" Type="http://schemas.openxmlformats.org/officeDocument/2006/relationships/font" Target="fonts/font19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font" Target="fonts/font18.fntdata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font" Target="fonts/font17.fntdata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font" Target="fonts/font15.fntdata"/><Relationship Id="rId38" Type="http://schemas.openxmlformats.org/officeDocument/2006/relationships/font" Target="fonts/font20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863751323635807E-2"/>
          <c:y val="0.21217201177596431"/>
          <c:w val="0.96227249735272835"/>
          <c:h val="0.422025480480331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509AAF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509AAF"/>
                    </a:solidFill>
                    <a:latin typeface="IBM Plex Sans" panose="020B05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9F-654F-ADAE-7011A53A569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7DD8C7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509AAF"/>
                    </a:solidFill>
                    <a:latin typeface="IBM Plex Sans" panose="020B05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9F-654F-ADAE-7011A53A569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5FFC3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509AAF"/>
                    </a:solidFill>
                    <a:latin typeface="IBM Plex Sans" panose="020B05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9F-654F-ADAE-7011A53A569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50893680"/>
        <c:axId val="550883840"/>
      </c:barChart>
      <c:catAx>
        <c:axId val="550893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509AA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IBM Plex Sans" panose="020B0503050203000203" pitchFamily="34" charset="0"/>
                <a:ea typeface="+mn-ea"/>
                <a:cs typeface="+mn-cs"/>
              </a:defRPr>
            </a:pPr>
            <a:endParaRPr lang="en-US"/>
          </a:p>
        </c:txPr>
        <c:crossAx val="550883840"/>
        <c:crosses val="autoZero"/>
        <c:auto val="1"/>
        <c:lblAlgn val="ctr"/>
        <c:lblOffset val="100"/>
        <c:noMultiLvlLbl val="0"/>
      </c:catAx>
      <c:valAx>
        <c:axId val="5508838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0893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509AAF"/>
              </a:solidFill>
              <a:latin typeface="IBM Plex Sans" panose="020B050305020300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509AAF"/>
          </a:solidFill>
          <a:latin typeface="IBM Plex Sans" panose="020B0503050203000203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509AAF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739-5641-B3B5-08C0696642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F5FFC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739-5641-B3B5-08C0696642F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7DD8C7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739-5641-B3B5-08C0696642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49437360"/>
        <c:axId val="749438016"/>
      </c:lineChart>
      <c:catAx>
        <c:axId val="749437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509AA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IBM Plex Sans" panose="020B0503050203000203" pitchFamily="34" charset="0"/>
                <a:ea typeface="+mn-ea"/>
                <a:cs typeface="+mn-cs"/>
              </a:defRPr>
            </a:pPr>
            <a:endParaRPr lang="en-US"/>
          </a:p>
        </c:txPr>
        <c:crossAx val="749438016"/>
        <c:crosses val="autoZero"/>
        <c:auto val="1"/>
        <c:lblAlgn val="ctr"/>
        <c:lblOffset val="100"/>
        <c:noMultiLvlLbl val="0"/>
      </c:catAx>
      <c:valAx>
        <c:axId val="7494380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IBM Plex Sans" panose="020B0503050203000203" pitchFamily="34" charset="0"/>
                <a:ea typeface="+mn-ea"/>
                <a:cs typeface="+mn-cs"/>
              </a:defRPr>
            </a:pPr>
            <a:endParaRPr lang="en-US"/>
          </a:p>
        </c:txPr>
        <c:crossAx val="749437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509AAF"/>
              </a:solidFill>
              <a:latin typeface="IBM Plex Sans" panose="020B050305020300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509AAF"/>
          </a:solidFill>
          <a:latin typeface="IBM Plex Sans" panose="020B0503050203000203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pPr>
            <a:endParaRPr lang="da-DK"/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IBM Plex Sans" panose="020B0503050203000203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1823164347850652E-2"/>
          <c:y val="0.2081270435766292"/>
          <c:w val="0.9363536713042987"/>
          <c:h val="0.551593723203822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509AAF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BC4-E64C-BDEF-2281C967C8AE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BC4-E64C-BDEF-2281C967C8AE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BC4-E64C-BDEF-2281C967C8AE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BC4-E64C-BDEF-2281C967C8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Netflix</c:v>
                </c:pt>
                <c:pt idx="1">
                  <c:v>Amazon Prime</c:v>
                </c:pt>
                <c:pt idx="2">
                  <c:v>Hulu</c:v>
                </c:pt>
                <c:pt idx="3">
                  <c:v>Subscription to any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43</c:v>
                </c:pt>
                <c:pt idx="1">
                  <c:v>0.22</c:v>
                </c:pt>
                <c:pt idx="2">
                  <c:v>0.09</c:v>
                </c:pt>
                <c:pt idx="3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C4-E64C-BDEF-2281C967C8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7DD8C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DD8C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CBC4-E64C-BDEF-2281C967C8AE}"/>
              </c:ext>
            </c:extLst>
          </c:dPt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BC4-E64C-BDEF-2281C967C8AE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BC4-E64C-BDEF-2281C967C8AE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CBC4-E64C-BDEF-2281C967C8AE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BC4-E64C-BDEF-2281C967C8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Netflix</c:v>
                </c:pt>
                <c:pt idx="1">
                  <c:v>Amazon Prime</c:v>
                </c:pt>
                <c:pt idx="2">
                  <c:v>Hulu</c:v>
                </c:pt>
                <c:pt idx="3">
                  <c:v>Subscription to any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.5</c:v>
                </c:pt>
                <c:pt idx="1">
                  <c:v>0.28999999999999998</c:v>
                </c:pt>
                <c:pt idx="2">
                  <c:v>0.14000000000000001</c:v>
                </c:pt>
                <c:pt idx="3">
                  <c:v>0.57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BC4-E64C-BDEF-2281C967C8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451136"/>
        <c:axId val="66437120"/>
      </c:barChart>
      <c:catAx>
        <c:axId val="67451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low"/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1"/>
        <c:axPos val="l"/>
        <c:numFmt formatCode="#,##0.0%" sourceLinked="0"/>
        <c:majorTickMark val="none"/>
        <c:minorTickMark val="none"/>
        <c:tickLblPos val="low"/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763396937140022"/>
          <c:y val="8.2266369728483557E-2"/>
          <c:w val="0.22424897787731976"/>
          <c:h val="0.108430220339966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IBM Plex Sans" panose="020B050305020300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1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IBM Plex Sans" panose="020B0503050203000203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endParaRPr lang="da-DK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8.357637847720395E-2"/>
          <c:y val="7.8590169984293218E-2"/>
          <c:w val="0.88520178909911718"/>
          <c:h val="0.8213859773084245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bscribers in millions</c:v>
                </c:pt>
              </c:strCache>
            </c:strRef>
          </c:tx>
          <c:spPr>
            <a:ln w="12700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Sheet1!$A$2:$A$26</c:f>
              <c:strCache>
                <c:ptCount val="25"/>
                <c:pt idx="0">
                  <c:v>Q3 2011</c:v>
                </c:pt>
                <c:pt idx="1">
                  <c:v>Q4 2011</c:v>
                </c:pt>
                <c:pt idx="2">
                  <c:v>Q1 2012</c:v>
                </c:pt>
                <c:pt idx="3">
                  <c:v>Q2 2012</c:v>
                </c:pt>
                <c:pt idx="4">
                  <c:v>Q3 2012</c:v>
                </c:pt>
                <c:pt idx="5">
                  <c:v>Q4 2012</c:v>
                </c:pt>
                <c:pt idx="6">
                  <c:v>Q1 2013</c:v>
                </c:pt>
                <c:pt idx="7">
                  <c:v>Q2 2013</c:v>
                </c:pt>
                <c:pt idx="8">
                  <c:v>Q3 2013</c:v>
                </c:pt>
                <c:pt idx="9">
                  <c:v>Q4 2013</c:v>
                </c:pt>
                <c:pt idx="10">
                  <c:v>Q1 2014</c:v>
                </c:pt>
                <c:pt idx="11">
                  <c:v>Q2 2014</c:v>
                </c:pt>
                <c:pt idx="12">
                  <c:v>Q3 2014</c:v>
                </c:pt>
                <c:pt idx="13">
                  <c:v>Q4 2014</c:v>
                </c:pt>
                <c:pt idx="14">
                  <c:v>Q1 2015</c:v>
                </c:pt>
                <c:pt idx="15">
                  <c:v>Q2 2015</c:v>
                </c:pt>
                <c:pt idx="16">
                  <c:v>Q3 2015</c:v>
                </c:pt>
                <c:pt idx="17">
                  <c:v>Q4 2015</c:v>
                </c:pt>
                <c:pt idx="18">
                  <c:v>Q1 2016</c:v>
                </c:pt>
                <c:pt idx="19">
                  <c:v>Q2 2016</c:v>
                </c:pt>
                <c:pt idx="20">
                  <c:v>Q3 2016</c:v>
                </c:pt>
                <c:pt idx="21">
                  <c:v>Q4 2016</c:v>
                </c:pt>
                <c:pt idx="22">
                  <c:v>Q1 2017</c:v>
                </c:pt>
                <c:pt idx="23">
                  <c:v>Q2 2017</c:v>
                </c:pt>
                <c:pt idx="24">
                  <c:v>Q3 2017</c:v>
                </c:pt>
              </c:strCache>
            </c:strRef>
          </c:cat>
          <c:val>
            <c:numRef>
              <c:f>Sheet1!$B$2:$B$26</c:f>
              <c:numCache>
                <c:formatCode>General</c:formatCode>
                <c:ptCount val="25"/>
                <c:pt idx="0">
                  <c:v>21.45</c:v>
                </c:pt>
                <c:pt idx="1">
                  <c:v>21.67</c:v>
                </c:pt>
                <c:pt idx="2">
                  <c:v>23.41</c:v>
                </c:pt>
                <c:pt idx="3">
                  <c:v>23.94</c:v>
                </c:pt>
                <c:pt idx="4">
                  <c:v>25.1</c:v>
                </c:pt>
                <c:pt idx="5">
                  <c:v>27.15</c:v>
                </c:pt>
                <c:pt idx="6">
                  <c:v>29.17</c:v>
                </c:pt>
                <c:pt idx="7">
                  <c:v>29.81</c:v>
                </c:pt>
                <c:pt idx="8">
                  <c:v>31.09</c:v>
                </c:pt>
                <c:pt idx="9">
                  <c:v>33.42</c:v>
                </c:pt>
                <c:pt idx="10">
                  <c:v>35.67</c:v>
                </c:pt>
                <c:pt idx="11">
                  <c:v>36.24</c:v>
                </c:pt>
                <c:pt idx="12">
                  <c:v>37.22</c:v>
                </c:pt>
                <c:pt idx="13">
                  <c:v>39.11</c:v>
                </c:pt>
                <c:pt idx="14">
                  <c:v>41.4</c:v>
                </c:pt>
                <c:pt idx="15">
                  <c:v>42.3</c:v>
                </c:pt>
                <c:pt idx="16">
                  <c:v>43.18</c:v>
                </c:pt>
                <c:pt idx="17">
                  <c:v>44.74</c:v>
                </c:pt>
                <c:pt idx="18">
                  <c:v>46.97</c:v>
                </c:pt>
                <c:pt idx="19">
                  <c:v>47.13</c:v>
                </c:pt>
                <c:pt idx="20">
                  <c:v>47.5</c:v>
                </c:pt>
                <c:pt idx="21">
                  <c:v>49.43</c:v>
                </c:pt>
                <c:pt idx="22">
                  <c:v>50.85</c:v>
                </c:pt>
                <c:pt idx="23">
                  <c:v>51.92</c:v>
                </c:pt>
                <c:pt idx="24">
                  <c:v>52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1CE-D743-B03C-C8B78DD5D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451136"/>
        <c:axId val="66437120"/>
      </c:lineChart>
      <c:catAx>
        <c:axId val="67451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low"/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noFill/>
          </a:ln>
        </c:spPr>
        <c:crossAx val="67451136"/>
        <c:crosses val="autoZero"/>
        <c:crossBetween val="between"/>
      </c:valAx>
    </c:plotArea>
    <c:plotVisOnly val="1"/>
    <c:dispBlanksAs val="zero"/>
    <c:showDLblsOverMax val="1"/>
  </c:chart>
  <c:txPr>
    <a:bodyPr/>
    <a:lstStyle/>
    <a:p>
      <a:pPr>
        <a:defRPr sz="1000" smtId="4294967295">
          <a:solidFill>
            <a:schemeClr val="tx1"/>
          </a:solidFill>
          <a:latin typeface="IBM Plex Sans" panose="020B0503050203000203" pitchFamily="34" charset="0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150" baseline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pPr>
            <a:endParaRPr lang="da-DK"/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all" spc="150" baseline="0">
              <a:solidFill>
                <a:schemeClr val="tx1"/>
              </a:solidFill>
              <a:latin typeface="IBM Plex Sans" panose="020B0503050203000203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12199406966250667"/>
          <c:w val="0.96095270496821406"/>
          <c:h val="0.603382769664781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unique users in millions</c:v>
                </c:pt>
              </c:strCache>
            </c:strRef>
          </c:tx>
          <c:spPr>
            <a:solidFill>
              <a:srgbClr val="509AAF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D8C3-A042-AE50-6660381E4A92}"/>
                </c:ext>
              </c:extLst>
            </c:dLbl>
            <c:dLbl>
              <c:idx val="1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8C3-A042-AE50-6660381E4A92}"/>
                </c:ext>
              </c:extLst>
            </c:dLbl>
            <c:dLbl>
              <c:idx val="2"/>
              <c:numFmt formatCode="#,##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D8C3-A042-AE50-6660381E4A92}"/>
                </c:ext>
              </c:extLst>
            </c:dLbl>
            <c:dLbl>
              <c:idx val="3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8C3-A042-AE50-6660381E4A92}"/>
                </c:ext>
              </c:extLst>
            </c:dLbl>
            <c:dLbl>
              <c:idx val="4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D8C3-A042-AE50-6660381E4A92}"/>
                </c:ext>
              </c:extLst>
            </c:dLbl>
            <c:dLbl>
              <c:idx val="5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8C3-A042-AE50-6660381E4A92}"/>
                </c:ext>
              </c:extLst>
            </c:dLbl>
            <c:dLbl>
              <c:idx val="6"/>
              <c:numFmt formatCode="#,##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D8C3-A042-AE50-6660381E4A92}"/>
                </c:ext>
              </c:extLst>
            </c:dLbl>
            <c:dLbl>
              <c:idx val="7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8C3-A042-AE50-6660381E4A92}"/>
                </c:ext>
              </c:extLst>
            </c:dLbl>
            <c:dLbl>
              <c:idx val="8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D8C3-A042-AE50-6660381E4A92}"/>
                </c:ext>
              </c:extLst>
            </c:dLbl>
            <c:dLbl>
              <c:idx val="9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D8C3-A042-AE50-6660381E4A92}"/>
                </c:ext>
              </c:extLst>
            </c:dLbl>
            <c:dLbl>
              <c:idx val="10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IBM Plex Sans" panose="020B05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8C3-A042-AE50-6660381E4A92}"/>
                </c:ext>
              </c:extLst>
            </c:dLbl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ouTube</c:v>
                </c:pt>
                <c:pt idx="1">
                  <c:v>Vimeo</c:v>
                </c:pt>
                <c:pt idx="2">
                  <c:v>BBC iPlayer</c:v>
                </c:pt>
                <c:pt idx="3">
                  <c:v>Channel 4</c:v>
                </c:pt>
                <c:pt idx="4">
                  <c:v>Netflix</c:v>
                </c:pt>
                <c:pt idx="5">
                  <c:v>Dailymotion</c:v>
                </c:pt>
                <c:pt idx="6">
                  <c:v>NOW TV</c:v>
                </c:pt>
                <c:pt idx="7">
                  <c:v>itv Hub</c:v>
                </c:pt>
                <c:pt idx="8">
                  <c:v>Amazon Video</c:v>
                </c:pt>
                <c:pt idx="9">
                  <c:v>Sky Go</c:v>
                </c:pt>
                <c:pt idx="10">
                  <c:v>Channel 5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42.3</c:v>
                </c:pt>
                <c:pt idx="1">
                  <c:v>20.6</c:v>
                </c:pt>
                <c:pt idx="2">
                  <c:v>17</c:v>
                </c:pt>
                <c:pt idx="3">
                  <c:v>10.1</c:v>
                </c:pt>
                <c:pt idx="4">
                  <c:v>6.2</c:v>
                </c:pt>
                <c:pt idx="5">
                  <c:v>4.9000000000000004</c:v>
                </c:pt>
                <c:pt idx="6">
                  <c:v>4</c:v>
                </c:pt>
                <c:pt idx="7">
                  <c:v>2.9</c:v>
                </c:pt>
                <c:pt idx="8">
                  <c:v>2.7</c:v>
                </c:pt>
                <c:pt idx="9">
                  <c:v>2.6</c:v>
                </c:pt>
                <c:pt idx="1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8C3-A042-AE50-6660381E4A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2"/>
        <c:axId val="67451136"/>
        <c:axId val="66437120"/>
      </c:barChart>
      <c:catAx>
        <c:axId val="67451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low"/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1"/>
        <c:axPos val="l"/>
        <c:numFmt formatCode="General" sourceLinked="1"/>
        <c:majorTickMark val="none"/>
        <c:minorTickMark val="none"/>
        <c:tickLblPos val="low"/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1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IBM Plex Sans" panose="020B0503050203000203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t" anchorCtr="0" compatLnSpc="1">
            <a:prstTxWarp prst="textNoShape">
              <a:avLst/>
            </a:prstTxWarp>
            <a:spAutoFit/>
          </a:bodyPr>
          <a:lstStyle>
            <a:lvl1pPr algn="l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6597663" y="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t" anchorCtr="0" compatLnSpc="1">
            <a:prstTxWarp prst="textNoShape">
              <a:avLst/>
            </a:prstTxWarp>
            <a:spAutoFit/>
          </a:bodyPr>
          <a:lstStyle>
            <a:lvl1pPr algn="r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3212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b" anchorCtr="0" compatLnSpc="1">
            <a:prstTxWarp prst="textNoShape">
              <a:avLst/>
            </a:prstTxWarp>
            <a:spAutoFit/>
          </a:bodyPr>
          <a:lstStyle>
            <a:lvl1pPr algn="l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09687" y="9630439"/>
            <a:ext cx="370659" cy="2798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b" anchorCtr="0" compatLnSpc="1">
            <a:prstTxWarp prst="textNoShape">
              <a:avLst/>
            </a:prstTxWarp>
            <a:spAutoFit/>
          </a:bodyPr>
          <a:lstStyle>
            <a:lvl1pPr algn="r" defTabSz="920615">
              <a:spcBef>
                <a:spcPct val="0"/>
              </a:spcBef>
              <a:defRPr b="1"/>
            </a:lvl1pPr>
          </a:lstStyle>
          <a:p>
            <a:fld id="{759B724C-78FC-4698-BDE4-19F15588D530}" type="slidenum">
              <a:rPr lang="da-DK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628533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t" anchorCtr="0" compatLnSpc="1">
            <a:prstTxWarp prst="textNoShape">
              <a:avLst/>
            </a:prstTxWarp>
          </a:bodyPr>
          <a:lstStyle>
            <a:lvl1pPr algn="l" defTabSz="917412" rtl="0">
              <a:spcBef>
                <a:spcPct val="0"/>
              </a:spcBef>
              <a:defRPr/>
            </a:lvl1pPr>
          </a:lstStyle>
          <a:p>
            <a:endParaRPr lang="en-US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7072" y="1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t" anchorCtr="0" compatLnSpc="1">
            <a:prstTxWarp prst="textNoShape">
              <a:avLst/>
            </a:prstTxWarp>
          </a:bodyPr>
          <a:lstStyle>
            <a:lvl1pPr algn="r" defTabSz="917412" rtl="0">
              <a:spcBef>
                <a:spcPct val="0"/>
              </a:spcBef>
              <a:defRPr/>
            </a:lvl1pPr>
          </a:lstStyle>
          <a:p>
            <a:endParaRPr lang="en-US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845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907" y="4715186"/>
            <a:ext cx="5382125" cy="1089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Klik for at redigere teksttypografien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5236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b" anchorCtr="0" compatLnSpc="1">
            <a:prstTxWarp prst="textNoShape">
              <a:avLst/>
            </a:prstTxWarp>
          </a:bodyPr>
          <a:lstStyle>
            <a:lvl1pPr algn="l" defTabSz="917412" rtl="0">
              <a:spcBef>
                <a:spcPct val="0"/>
              </a:spcBef>
              <a:defRPr/>
            </a:lvl1pPr>
          </a:lstStyle>
          <a:p>
            <a:endParaRPr lang="en-US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7072" y="9435236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b" anchorCtr="0" compatLnSpc="1">
            <a:prstTxWarp prst="textNoShape">
              <a:avLst/>
            </a:prstTxWarp>
          </a:bodyPr>
          <a:lstStyle>
            <a:lvl1pPr algn="r" defTabSz="917412" rtl="0">
              <a:spcBef>
                <a:spcPct val="0"/>
              </a:spcBef>
              <a:defRPr/>
            </a:lvl1pPr>
          </a:lstStyle>
          <a:p>
            <a:fld id="{1D57CA6B-6BE3-424D-A16A-7999092352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3675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5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36525" indent="-134938" algn="l" rtl="0" eaLnBrk="0" fontAlgn="base" hangingPunct="0">
      <a:spcBef>
        <a:spcPct val="5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5750" indent="-147638" algn="l" rtl="0" eaLnBrk="0" fontAlgn="base" hangingPunct="0">
      <a:spcBef>
        <a:spcPct val="50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22275" indent="-134938" algn="l" rtl="0" eaLnBrk="0" fontAlgn="base" hangingPunct="0">
      <a:spcBef>
        <a:spcPct val="50000"/>
      </a:spcBef>
      <a:spcAft>
        <a:spcPct val="0"/>
      </a:spcAft>
      <a:buChar char="·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47638" algn="l" rtl="0" eaLnBrk="0" fontAlgn="base" hangingPunct="0">
      <a:spcBef>
        <a:spcPct val="50000"/>
      </a:spcBef>
      <a:spcAft>
        <a:spcPct val="0"/>
      </a:spcAft>
      <a:buChar char="»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1961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2319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8907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415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349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1998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44698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3609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3291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6264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6084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907" y="4715186"/>
            <a:ext cx="5382125" cy="1538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7CA6B-6BE3-424D-A16A-799909235261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749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95109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BA3E4BDC-AB02-44C8-B626-D852349095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4D2158-D83A-48CF-A291-D78D9430EA51}"/>
              </a:ext>
            </a:extLst>
          </p:cNvPr>
          <p:cNvSpPr/>
          <p:nvPr userDrawn="1"/>
        </p:nvSpPr>
        <p:spPr bwMode="auto">
          <a:xfrm>
            <a:off x="1" y="-1"/>
            <a:ext cx="9906000" cy="6858001"/>
          </a:xfrm>
          <a:prstGeom prst="rect">
            <a:avLst/>
          </a:prstGeom>
          <a:gradFill>
            <a:gsLst>
              <a:gs pos="0">
                <a:srgbClr val="509AAF">
                  <a:alpha val="80000"/>
                </a:srgbClr>
              </a:gs>
              <a:gs pos="100000">
                <a:srgbClr val="612C83">
                  <a:alpha val="80000"/>
                </a:srgbClr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 rtl="0"/>
            <a:endParaRPr lang="en-US" dirty="0">
              <a:solidFill>
                <a:schemeClr val="tx2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D15371-1EEE-4D45-A67A-948C1998D3DD}"/>
              </a:ext>
            </a:extLst>
          </p:cNvPr>
          <p:cNvSpPr txBox="1"/>
          <p:nvPr userDrawn="1"/>
        </p:nvSpPr>
        <p:spPr>
          <a:xfrm>
            <a:off x="7471681" y="227576"/>
            <a:ext cx="2016595" cy="374571"/>
          </a:xfrm>
          <a:prstGeom prst="roundRect">
            <a:avLst/>
          </a:prstGeom>
          <a:noFill/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rtl="0"/>
            <a:r>
              <a:rPr lang="en-US" sz="1600" dirty="0">
                <a:solidFill>
                  <a:schemeClr val="bg1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F2D940C-69D0-43D1-B982-BBD4E32CFCE1}"/>
              </a:ext>
            </a:extLst>
          </p:cNvPr>
          <p:cNvSpPr/>
          <p:nvPr userDrawn="1"/>
        </p:nvSpPr>
        <p:spPr bwMode="auto">
          <a:xfrm>
            <a:off x="417513" y="4039790"/>
            <a:ext cx="547016" cy="204311"/>
          </a:xfrm>
          <a:prstGeom prst="roundRect">
            <a:avLst/>
          </a:prstGeom>
          <a:solidFill>
            <a:srgbClr val="F5FFC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l" rtl="0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04A2A8-6699-4235-8CCE-84C4F93F30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4370342"/>
            <a:ext cx="9070763" cy="1511711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3600" b="1">
                <a:solidFill>
                  <a:schemeClr val="bg1"/>
                </a:solidFill>
                <a:latin typeface="IBM Plex Sans SemiBold" panose="020B0703050203000203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SemiBold" panose="020B0703050203000203" pitchFamily="34" charset="0"/>
                <a:ea typeface="+mn-ea"/>
                <a:cs typeface="Poppins Black" panose="00000A00000000000000" pitchFamily="2" charset="0"/>
              </a:rPr>
              <a:t>Insert main title text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5FFC3"/>
              </a:solidFill>
              <a:effectLst/>
              <a:uLnTx/>
              <a:uFillTx/>
              <a:latin typeface="IBM Plex Sans SemiBold" panose="020B0703050203000203" pitchFamily="34" charset="0"/>
              <a:ea typeface="+mn-ea"/>
              <a:cs typeface="Poppins Black" panose="00000A00000000000000" pitchFamily="2" charset="0"/>
            </a:endParaRPr>
          </a:p>
        </p:txBody>
      </p:sp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840711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455834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7F48E5-CACA-457C-8D22-50F6073A6C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6089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2"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1F6685-18E4-42C6-9DE6-03B17B9A1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9072562" cy="539750"/>
          </a:xfrm>
        </p:spPr>
        <p:txBody>
          <a:bodyPr vert="horz" lIns="0" tIns="0" rIns="0" bIns="0"/>
          <a:lstStyle>
            <a:lvl1pPr rtl="0">
              <a:defRPr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41A5A4-C9A9-40A1-A0B2-2F0ACC7DE2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66AFC10B-F707-4E2E-A165-AA17571AEF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0A202B8-2B66-8F42-B99A-FF95187B34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7275" y="6593488"/>
            <a:ext cx="3142800" cy="136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>
                <a:solidFill>
                  <a:schemeClr val="tx1"/>
                </a:solidFill>
                <a:latin typeface="IBM Plex Sans" panose="020B0503050203000203" pitchFamily="34" charset="0"/>
                <a:cs typeface="Poppins" pitchFamily="2" charset="77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spc="100" dirty="0">
              <a:solidFill>
                <a:srgbClr val="7DD8C7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598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384409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1093" name="Rectangle 6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57D2D77-B9BE-4E52-AA15-03429B98053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rtl="0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2"/>
              </a:solidFill>
              <a:latin typeface="IBM Plex Sans SemiBold" panose="020B0703050203000203" pitchFamily="34" charset="0"/>
              <a:ea typeface="+mn-ea"/>
              <a:cs typeface="Poppins Black" panose="00000A00000000000000" pitchFamily="2" charset="0"/>
              <a:sym typeface="IBM Plex Sans SemiBold" panose="020B0703050203000203" pitchFamily="34" charset="0"/>
            </a:endParaRPr>
          </a:p>
        </p:txBody>
      </p:sp>
      <p:sp>
        <p:nvSpPr>
          <p:cNvPr id="3" name="[WorkArea]" descr="&lt;?xml version=&quot;1.0&quot; encoding=&quot;utf-16&quot;?&gt;&#10;&lt;GridTheme xmlns:xsd=&quot;http://www.w3.org/2001/XMLSchema&quot; xmlns:xsi=&quot;http://www.w3.org/2001/XMLSchema-instance&quot;&gt;&#10;  &lt;GuideLines /&gt;&#10;  &lt;WorkArea&gt;&#10;    &lt;Top&gt;94.12504&lt;/Top&gt;&#10;    &lt;Left&gt;32.87504&lt;/Left&gt;&#10;    &lt;Width&gt;714.374939&lt;/Width&gt;&#10;    &lt;Height&gt;388.374969&lt;/Height&gt;&#10;  &lt;/WorkArea&gt;&#10;  &lt;AspectW&gt;-1&lt;/AspectW&gt;&#10;  &lt;AspectH&gt;-1&lt;/AspectH&gt;&#10;  &lt;Width&gt;780&lt;/Width&gt;&#10;  &lt;Height&gt;540&lt;/Height&gt;&#10;  &lt;HGap&gt;5&lt;/HGap&gt;&#10;  &lt;VGap&gt;5&lt;/VGap&gt;&#10;  &lt;OfficeVersion&gt;-1&lt;/OfficeVersion&gt;&#10;&lt;/GridTheme&gt;" hidden="1"/>
          <p:cNvSpPr/>
          <p:nvPr userDrawn="1"/>
        </p:nvSpPr>
        <p:spPr bwMode="auto">
          <a:xfrm>
            <a:off x="417513" y="1195388"/>
            <a:ext cx="9072562" cy="4932362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2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 rtl="0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A39A20-80A6-4069-9C97-426C4B5153C9}"/>
              </a:ext>
            </a:extLst>
          </p:cNvPr>
          <p:cNvSpPr txBox="1"/>
          <p:nvPr userDrawn="1"/>
        </p:nvSpPr>
        <p:spPr>
          <a:xfrm>
            <a:off x="417513" y="134956"/>
            <a:ext cx="2039937" cy="374571"/>
          </a:xfrm>
          <a:prstGeom prst="roundRect">
            <a:avLst/>
          </a:prstGeom>
          <a:noFill/>
          <a:ln w="12700">
            <a:solidFill>
              <a:srgbClr val="612C83"/>
            </a:solidFill>
          </a:ln>
        </p:spPr>
        <p:txBody>
          <a:bodyPr wrap="square" lIns="182880" rtlCol="0">
            <a:spAutoFit/>
          </a:bodyPr>
          <a:lstStyle/>
          <a:p>
            <a:pPr algn="l" rtl="0"/>
            <a:r>
              <a:rPr lang="en-US" sz="1600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09C4C58-F676-44F7-8162-7FCCA3EF79FD}"/>
              </a:ext>
            </a:extLst>
          </p:cNvPr>
          <p:cNvSpPr/>
          <p:nvPr userDrawn="1"/>
        </p:nvSpPr>
        <p:spPr bwMode="auto">
          <a:xfrm>
            <a:off x="417513" y="1214399"/>
            <a:ext cx="547016" cy="204311"/>
          </a:xfrm>
          <a:prstGeom prst="roundRect">
            <a:avLst/>
          </a:prstGeom>
          <a:solidFill>
            <a:srgbClr val="612C8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l" rtl="0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BE8D96-1F9F-4862-84B8-4326461C4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8543925" cy="539750"/>
          </a:xfrm>
          <a:prstGeom prst="rect">
            <a:avLst/>
          </a:prstGeom>
        </p:spPr>
        <p:txBody>
          <a:bodyPr vert="horz" lIns="182880" tIns="45720" rIns="182880" bIns="45720" rtlCol="0" anchor="t" anchorCtr="0">
            <a:normAutofit/>
          </a:bodyPr>
          <a:lstStyle/>
          <a:p>
            <a:r>
              <a:rPr lang="en-US" dirty="0"/>
              <a:t>Title goes here in IBM </a:t>
            </a:r>
            <a:r>
              <a:rPr lang="en-US" err="1"/>
              <a:t>SemiBold</a:t>
            </a:r>
            <a:r>
              <a:rPr lang="en-US"/>
              <a:t> size24</a:t>
            </a:r>
            <a:endParaRPr lang="en-US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93DA38CC-FDC4-974F-A8CC-D1E7E5646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2399" y="6356350"/>
            <a:ext cx="378000" cy="19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rgbClr val="7DD8C7"/>
                </a:solidFill>
              </a:defRPr>
            </a:lvl1pPr>
          </a:lstStyle>
          <a:p>
            <a:fld id="{66AFC10B-F707-4E2E-A165-AA17571AEF0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6" r:id="rId2"/>
    <p:sldLayoutId id="2147483755" r:id="rId3"/>
  </p:sldLayoutIdLst>
  <p:transition>
    <p:fade/>
  </p:transition>
  <p:hf hdr="0" ftr="0" dt="0"/>
  <p:txStyles>
    <p:titleStyle>
      <a:lvl1pPr algn="l" rtl="0" eaLnBrk="1" fontAlgn="base" hangingPunct="1">
        <a:spcBef>
          <a:spcPct val="50000"/>
        </a:spcBef>
        <a:spcAft>
          <a:spcPct val="0"/>
        </a:spcAft>
        <a:defRPr lang="de-DE" sz="2400" b="0" kern="1200" dirty="0">
          <a:solidFill>
            <a:srgbClr val="509AAF"/>
          </a:solidFill>
          <a:latin typeface="IBM Plex Sans SemiBold" panose="020B0703050203000203" pitchFamily="34" charset="0"/>
          <a:ea typeface="+mn-ea"/>
          <a:cs typeface="Poppins Black" panose="00000A00000000000000" pitchFamily="2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50000"/>
        </a:spcBef>
        <a:spcAft>
          <a:spcPct val="0"/>
        </a:spcAft>
        <a:defRPr sz="1200">
          <a:solidFill>
            <a:srgbClr val="000000"/>
          </a:solidFill>
          <a:latin typeface="Raleway" panose="020B0503030101060003" pitchFamily="34" charset="0"/>
          <a:ea typeface="+mn-ea"/>
          <a:cs typeface="+mn-cs"/>
        </a:defRPr>
      </a:lvl1pPr>
      <a:lvl2pPr marL="136525" indent="-134938" algn="l" rtl="0" eaLnBrk="1" fontAlgn="base" hangingPunct="1">
        <a:spcBef>
          <a:spcPct val="50000"/>
        </a:spcBef>
        <a:spcAft>
          <a:spcPct val="0"/>
        </a:spcAft>
        <a:buChar char="•"/>
        <a:defRPr sz="1200">
          <a:solidFill>
            <a:srgbClr val="000000"/>
          </a:solidFill>
          <a:latin typeface="Raleway" panose="020B0503030101060003" pitchFamily="34" charset="0"/>
        </a:defRPr>
      </a:lvl2pPr>
      <a:lvl3pPr marL="285750" indent="-147638" algn="l" rtl="0" eaLnBrk="1" fontAlgn="base" hangingPunct="1">
        <a:spcBef>
          <a:spcPct val="50000"/>
        </a:spcBef>
        <a:spcAft>
          <a:spcPct val="0"/>
        </a:spcAft>
        <a:buChar char="–"/>
        <a:defRPr sz="1200">
          <a:solidFill>
            <a:srgbClr val="000000"/>
          </a:solidFill>
          <a:latin typeface="Raleway" panose="020B0503030101060003" pitchFamily="34" charset="0"/>
        </a:defRPr>
      </a:lvl3pPr>
      <a:lvl4pPr marL="422275" indent="-134938" algn="l" rtl="0" eaLnBrk="1" fontAlgn="base" hangingPunct="1">
        <a:spcBef>
          <a:spcPct val="50000"/>
        </a:spcBef>
        <a:spcAft>
          <a:spcPct val="0"/>
        </a:spcAft>
        <a:buChar char="·"/>
        <a:defRPr sz="1200">
          <a:solidFill>
            <a:srgbClr val="000000"/>
          </a:solidFill>
          <a:latin typeface="Raleway" panose="020B0503030101060003" pitchFamily="34" charset="0"/>
        </a:defRPr>
      </a:lvl4pPr>
      <a:lvl5pPr marL="5715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rgbClr val="000000"/>
          </a:solidFill>
          <a:latin typeface="Raleway" panose="020B0503030101060003" pitchFamily="34" charset="0"/>
        </a:defRPr>
      </a:lvl5pPr>
      <a:lvl6pPr marL="10287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14859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31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3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3" userDrawn="1">
          <p15:clr>
            <a:srgbClr val="F26B43"/>
          </p15:clr>
        </p15:guide>
        <p15:guide id="2" pos="5978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4197" userDrawn="1">
          <p15:clr>
            <a:srgbClr val="F26B43"/>
          </p15:clr>
        </p15:guide>
        <p15:guide id="5" pos="3120" userDrawn="1">
          <p15:clr>
            <a:srgbClr val="F26B43"/>
          </p15:clr>
        </p15:guide>
        <p15:guide id="6" orient="horz" pos="3959" userDrawn="1">
          <p15:clr>
            <a:srgbClr val="F26B43"/>
          </p15:clr>
        </p15:guide>
        <p15:guide id="7" orient="horz" pos="958" userDrawn="1">
          <p15:clr>
            <a:srgbClr val="F26B43"/>
          </p15:clr>
        </p15:guide>
        <p15:guide id="8" pos="2961" userDrawn="1">
          <p15:clr>
            <a:srgbClr val="F26B43"/>
          </p15:clr>
        </p15:guide>
        <p15:guide id="9" pos="32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2.png"/><Relationship Id="rId12" Type="http://schemas.openxmlformats.org/officeDocument/2006/relationships/image" Target="../media/image57.sv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11" Type="http://schemas.openxmlformats.org/officeDocument/2006/relationships/image" Target="../media/image56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55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5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8.png"/><Relationship Id="rId12" Type="http://schemas.openxmlformats.org/officeDocument/2006/relationships/image" Target="../media/image63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11" Type="http://schemas.openxmlformats.org/officeDocument/2006/relationships/image" Target="../media/image62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61.sv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60.pn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65.sv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10.png"/><Relationship Id="rId18" Type="http://schemas.openxmlformats.org/officeDocument/2006/relationships/image" Target="../media/image15.sv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8.png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17" Type="http://schemas.openxmlformats.org/officeDocument/2006/relationships/image" Target="../media/image14.png"/><Relationship Id="rId2" Type="http://schemas.openxmlformats.org/officeDocument/2006/relationships/tags" Target="../tags/tag11.xml"/><Relationship Id="rId16" Type="http://schemas.openxmlformats.org/officeDocument/2006/relationships/image" Target="../media/image13.svg"/><Relationship Id="rId20" Type="http://schemas.openxmlformats.org/officeDocument/2006/relationships/image" Target="../media/image17.svg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12.png"/><Relationship Id="rId10" Type="http://schemas.openxmlformats.org/officeDocument/2006/relationships/image" Target="../media/image7.svg"/><Relationship Id="rId19" Type="http://schemas.openxmlformats.org/officeDocument/2006/relationships/image" Target="../media/image16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Relationship Id="rId22" Type="http://schemas.openxmlformats.org/officeDocument/2006/relationships/image" Target="../media/image19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26" Type="http://schemas.openxmlformats.org/officeDocument/2006/relationships/image" Target="../media/image36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1.png"/><Relationship Id="rId7" Type="http://schemas.openxmlformats.org/officeDocument/2006/relationships/chart" Target="../charts/chart3.xml"/><Relationship Id="rId12" Type="http://schemas.openxmlformats.org/officeDocument/2006/relationships/image" Target="../media/image22.png"/><Relationship Id="rId17" Type="http://schemas.openxmlformats.org/officeDocument/2006/relationships/image" Target="../media/image27.gif"/><Relationship Id="rId25" Type="http://schemas.openxmlformats.org/officeDocument/2006/relationships/image" Target="../media/image35.svg"/><Relationship Id="rId2" Type="http://schemas.openxmlformats.org/officeDocument/2006/relationships/tags" Target="../tags/tag14.xml"/><Relationship Id="rId16" Type="http://schemas.openxmlformats.org/officeDocument/2006/relationships/image" Target="../media/image26.png"/><Relationship Id="rId20" Type="http://schemas.openxmlformats.org/officeDocument/2006/relationships/image" Target="../media/image30.svg"/><Relationship Id="rId29" Type="http://schemas.openxmlformats.org/officeDocument/2006/relationships/image" Target="../media/image39.sv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11" Type="http://schemas.openxmlformats.org/officeDocument/2006/relationships/image" Target="../media/image21.png"/><Relationship Id="rId24" Type="http://schemas.openxmlformats.org/officeDocument/2006/relationships/image" Target="../media/image34.png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28" Type="http://schemas.openxmlformats.org/officeDocument/2006/relationships/image" Target="../media/image38.pn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31" Type="http://schemas.openxmlformats.org/officeDocument/2006/relationships/image" Target="../media/image41.svg"/><Relationship Id="rId4" Type="http://schemas.openxmlformats.org/officeDocument/2006/relationships/notesSlide" Target="../notesSlides/notesSlide8.xml"/><Relationship Id="rId9" Type="http://schemas.openxmlformats.org/officeDocument/2006/relationships/chart" Target="../charts/chart5.xml"/><Relationship Id="rId14" Type="http://schemas.openxmlformats.org/officeDocument/2006/relationships/image" Target="../media/image24.PNG"/><Relationship Id="rId22" Type="http://schemas.openxmlformats.org/officeDocument/2006/relationships/image" Target="../media/image32.svg"/><Relationship Id="rId27" Type="http://schemas.openxmlformats.org/officeDocument/2006/relationships/image" Target="../media/image37.svg"/><Relationship Id="rId30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44.png"/><Relationship Id="rId18" Type="http://schemas.openxmlformats.org/officeDocument/2006/relationships/image" Target="../media/image49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.png"/><Relationship Id="rId12" Type="http://schemas.openxmlformats.org/officeDocument/2006/relationships/image" Target="../media/image43.svg"/><Relationship Id="rId17" Type="http://schemas.openxmlformats.org/officeDocument/2006/relationships/image" Target="../media/image48.png"/><Relationship Id="rId2" Type="http://schemas.openxmlformats.org/officeDocument/2006/relationships/tags" Target="../tags/tag15.xml"/><Relationship Id="rId16" Type="http://schemas.openxmlformats.org/officeDocument/2006/relationships/image" Target="../media/image47.svg"/><Relationship Id="rId20" Type="http://schemas.openxmlformats.org/officeDocument/2006/relationships/image" Target="../media/image51.svg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11" Type="http://schemas.openxmlformats.org/officeDocument/2006/relationships/image" Target="../media/image42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46.png"/><Relationship Id="rId10" Type="http://schemas.openxmlformats.org/officeDocument/2006/relationships/image" Target="../media/image15.svg"/><Relationship Id="rId19" Type="http://schemas.openxmlformats.org/officeDocument/2006/relationships/image" Target="../media/image50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4.png"/><Relationship Id="rId14" Type="http://schemas.openxmlformats.org/officeDocument/2006/relationships/image" Target="../media/image4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4967A4-BBDD-42F9-9AAE-88C2E71348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8146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9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A108835-D43B-47C5-92CE-9D1CA738EB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Client guidelines example</a:t>
            </a:r>
            <a:b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</a:br>
            <a: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Name of client: </a:t>
            </a:r>
            <a:r>
              <a:rPr lang="en-US" sz="3600" dirty="0">
                <a:solidFill>
                  <a:srgbClr val="F5FFC3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Executive Adviso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65277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03ACCAE9-59E5-4C0E-8200-B68D76FAE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852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3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9072562" cy="539750"/>
          </a:xfrm>
        </p:spPr>
        <p:txBody>
          <a:bodyPr vert="horz"/>
          <a:lstStyle/>
          <a:p>
            <a:r>
              <a:rPr lang="en-US" dirty="0"/>
              <a:t>Client </a:t>
            </a:r>
            <a:r>
              <a:rPr lang="en-US"/>
              <a:t>inspiration 3/4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</p:spPr>
        <p:txBody>
          <a:bodyPr/>
          <a:lstStyle/>
          <a:p>
            <a:fld id="{66AFC10B-F707-4E2E-A165-AA17571AEF0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98E368D4-6406-41C4-BABB-92A2595107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5D3C7DA-4EDA-420D-AF51-1CDD14D1350E}"/>
              </a:ext>
            </a:extLst>
          </p:cNvPr>
          <p:cNvGrpSpPr/>
          <p:nvPr/>
        </p:nvGrpSpPr>
        <p:grpSpPr>
          <a:xfrm>
            <a:off x="402301" y="1509507"/>
            <a:ext cx="9087775" cy="4874835"/>
            <a:chOff x="402301" y="1499369"/>
            <a:chExt cx="8693690" cy="4663442"/>
          </a:xfrm>
        </p:grpSpPr>
        <p:sp>
          <p:nvSpPr>
            <p:cNvPr id="39" name="Rectangle 20">
              <a:extLst>
                <a:ext uri="{FF2B5EF4-FFF2-40B4-BE49-F238E27FC236}">
                  <a16:creationId xmlns:a16="http://schemas.microsoft.com/office/drawing/2014/main" id="{FE2DBE86-F9FB-4E89-910E-02F8F02EC7BC}"/>
                </a:ext>
              </a:extLst>
            </p:cNvPr>
            <p:cNvSpPr/>
            <p:nvPr/>
          </p:nvSpPr>
          <p:spPr>
            <a:xfrm>
              <a:off x="3542243" y="1510092"/>
              <a:ext cx="73152" cy="1417320"/>
            </a:xfrm>
            <a:prstGeom prst="roundRect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90000" tIns="46800" rIns="90000" bIns="4680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" name="Rectangle 20">
              <a:extLst>
                <a:ext uri="{FF2B5EF4-FFF2-40B4-BE49-F238E27FC236}">
                  <a16:creationId xmlns:a16="http://schemas.microsoft.com/office/drawing/2014/main" id="{A747CFDA-9FB5-470E-8103-513AD61A2EDF}"/>
                </a:ext>
              </a:extLst>
            </p:cNvPr>
            <p:cNvSpPr/>
            <p:nvPr/>
          </p:nvSpPr>
          <p:spPr>
            <a:xfrm>
              <a:off x="3542243" y="3087432"/>
              <a:ext cx="73152" cy="1417320"/>
            </a:xfrm>
            <a:prstGeom prst="roundRect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90000" tIns="46800" rIns="90000" bIns="4680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2" name="Rectangle 20">
              <a:extLst>
                <a:ext uri="{FF2B5EF4-FFF2-40B4-BE49-F238E27FC236}">
                  <a16:creationId xmlns:a16="http://schemas.microsoft.com/office/drawing/2014/main" id="{82A04AC9-DB66-4AFB-9310-D1344901C93D}"/>
                </a:ext>
              </a:extLst>
            </p:cNvPr>
            <p:cNvSpPr/>
            <p:nvPr/>
          </p:nvSpPr>
          <p:spPr>
            <a:xfrm>
              <a:off x="3542243" y="4664772"/>
              <a:ext cx="73152" cy="1417320"/>
            </a:xfrm>
            <a:prstGeom prst="roundRect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90000" tIns="46800" rIns="90000" bIns="4680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Rectangle 20">
              <a:extLst>
                <a:ext uri="{FF2B5EF4-FFF2-40B4-BE49-F238E27FC236}">
                  <a16:creationId xmlns:a16="http://schemas.microsoft.com/office/drawing/2014/main" id="{787DD339-ABAD-46AF-AEAE-B2EDDE0B4620}"/>
                </a:ext>
              </a:extLst>
            </p:cNvPr>
            <p:cNvSpPr/>
            <p:nvPr/>
          </p:nvSpPr>
          <p:spPr>
            <a:xfrm>
              <a:off x="3615393" y="3087433"/>
              <a:ext cx="5480598" cy="14173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90000" tIns="90000" rIns="90000" bIns="90000" rtlCol="0" anchor="ctr"/>
            <a:lstStyle/>
            <a:p>
              <a:pPr marL="0" marR="0" lvl="0" indent="0" algn="l" defTabSz="91440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  <a:p>
              <a:pPr marL="180000" marR="0" lvl="0" indent="-180000" algn="l" defTabSz="914400" eaLnBrk="1" fontAlgn="auto" latinLnBrk="0" hangingPunct="1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  <a:p>
              <a:pPr marL="180000" indent="-180000" algn="l"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  <a:p>
              <a:pPr marL="180000" indent="-180000" algn="l"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</p:txBody>
        </p:sp>
        <p:sp>
          <p:nvSpPr>
            <p:cNvPr id="44" name="Rectangle 20">
              <a:extLst>
                <a:ext uri="{FF2B5EF4-FFF2-40B4-BE49-F238E27FC236}">
                  <a16:creationId xmlns:a16="http://schemas.microsoft.com/office/drawing/2014/main" id="{E4C396F4-33E0-4E37-98D8-D97FB184692F}"/>
                </a:ext>
              </a:extLst>
            </p:cNvPr>
            <p:cNvSpPr/>
            <p:nvPr/>
          </p:nvSpPr>
          <p:spPr>
            <a:xfrm>
              <a:off x="3615393" y="1510093"/>
              <a:ext cx="5480598" cy="14173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90000" tIns="90000" rIns="90000" bIns="90000" rtlCol="0" anchor="ctr"/>
            <a:lstStyle/>
            <a:p>
              <a:pPr marL="0" marR="0" lvl="0" indent="0" algn="l" defTabSz="91440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  <a:p>
              <a:pPr marL="180000" marR="0" lvl="0" indent="-180000" algn="l" defTabSz="914400" eaLnBrk="1" fontAlgn="auto" latinLnBrk="0" hangingPunct="1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  <a:p>
              <a:pPr marL="180000" indent="-180000" algn="l"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  <a:p>
              <a:pPr marL="180000" indent="-180000" algn="l"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</p:txBody>
        </p:sp>
        <p:sp>
          <p:nvSpPr>
            <p:cNvPr id="45" name="Rectangle 20">
              <a:extLst>
                <a:ext uri="{FF2B5EF4-FFF2-40B4-BE49-F238E27FC236}">
                  <a16:creationId xmlns:a16="http://schemas.microsoft.com/office/drawing/2014/main" id="{C085AD3E-991F-4CC4-AE90-365C877B6CDF}"/>
                </a:ext>
              </a:extLst>
            </p:cNvPr>
            <p:cNvSpPr/>
            <p:nvPr/>
          </p:nvSpPr>
          <p:spPr>
            <a:xfrm>
              <a:off x="3615393" y="4664772"/>
              <a:ext cx="5480598" cy="14173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90000" tIns="90000" rIns="90000" bIns="90000" rtlCol="0" anchor="ctr"/>
            <a:lstStyle/>
            <a:p>
              <a:pPr marL="0" marR="0" lvl="0" indent="0" algn="l" defTabSz="91440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  <a:p>
              <a:pPr marL="180000" marR="0" lvl="0" indent="-180000" algn="l" defTabSz="914400" eaLnBrk="1" fontAlgn="auto" latinLnBrk="0" hangingPunct="1">
                <a:spcBef>
                  <a:spcPts val="600"/>
                </a:spcBef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  <a:p>
              <a:pPr marL="180000" indent="-180000" algn="l"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  <a:p>
              <a:pPr marL="180000" indent="-180000" algn="l"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BM Plex Sans" panose="020B0503050203000203" pitchFamily="34" charset="0"/>
                  <a:cs typeface="Arial" panose="020B0604020202020204" pitchFamily="34" charset="0"/>
                </a:rPr>
                <a:t>Lorem ipsum lorem ipsum</a:t>
              </a:r>
            </a:p>
          </p:txBody>
        </p:sp>
        <p:cxnSp>
          <p:nvCxnSpPr>
            <p:cNvPr id="46" name="Conector recto 32">
              <a:extLst>
                <a:ext uri="{FF2B5EF4-FFF2-40B4-BE49-F238E27FC236}">
                  <a16:creationId xmlns:a16="http://schemas.microsoft.com/office/drawing/2014/main" id="{D6923573-51EE-45F0-B4D8-AEAAB9109693}"/>
                </a:ext>
              </a:extLst>
            </p:cNvPr>
            <p:cNvCxnSpPr>
              <a:cxnSpLocks/>
            </p:cNvCxnSpPr>
            <p:nvPr/>
          </p:nvCxnSpPr>
          <p:spPr>
            <a:xfrm>
              <a:off x="2536612" y="3788013"/>
              <a:ext cx="920773" cy="0"/>
            </a:xfrm>
            <a:prstGeom prst="line">
              <a:avLst/>
            </a:prstGeom>
            <a:noFill/>
            <a:ln w="12700" cap="flat" cmpd="sng" algn="ctr">
              <a:solidFill>
                <a:schemeClr val="accent1"/>
              </a:solidFill>
              <a:prstDash val="sysDash"/>
              <a:miter lim="800000"/>
              <a:headEnd type="none"/>
              <a:tailEnd type="oval"/>
            </a:ln>
            <a:effectLst/>
          </p:spPr>
        </p:cxnSp>
        <p:cxnSp>
          <p:nvCxnSpPr>
            <p:cNvPr id="47" name="Conector recto 31">
              <a:extLst>
                <a:ext uri="{FF2B5EF4-FFF2-40B4-BE49-F238E27FC236}">
                  <a16:creationId xmlns:a16="http://schemas.microsoft.com/office/drawing/2014/main" id="{3C79015C-385B-46DB-9083-D8104FEFA777}"/>
                </a:ext>
              </a:extLst>
            </p:cNvPr>
            <p:cNvCxnSpPr>
              <a:cxnSpLocks/>
            </p:cNvCxnSpPr>
            <p:nvPr/>
          </p:nvCxnSpPr>
          <p:spPr>
            <a:xfrm>
              <a:off x="1693671" y="1967292"/>
              <a:ext cx="1763713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ash"/>
              <a:miter lim="800000"/>
              <a:headEnd type="none"/>
              <a:tailEnd type="oval"/>
            </a:ln>
            <a:effectLst/>
          </p:spPr>
        </p:cxnSp>
        <p:cxnSp>
          <p:nvCxnSpPr>
            <p:cNvPr id="48" name="Conector recto 31">
              <a:extLst>
                <a:ext uri="{FF2B5EF4-FFF2-40B4-BE49-F238E27FC236}">
                  <a16:creationId xmlns:a16="http://schemas.microsoft.com/office/drawing/2014/main" id="{035F7313-FD28-4592-B31E-5F78052CF3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93671" y="5624892"/>
              <a:ext cx="1763713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ash"/>
              <a:miter lim="800000"/>
              <a:headEnd type="none"/>
              <a:tailEnd type="oval"/>
            </a:ln>
            <a:effectLst/>
          </p:spPr>
        </p:cxn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005BAF3F-647D-49EB-B390-A0B6467BF45C}"/>
                </a:ext>
              </a:extLst>
            </p:cNvPr>
            <p:cNvGrpSpPr/>
            <p:nvPr/>
          </p:nvGrpSpPr>
          <p:grpSpPr>
            <a:xfrm>
              <a:off x="402301" y="1499369"/>
              <a:ext cx="2269361" cy="4663442"/>
              <a:chOff x="357912" y="1543757"/>
              <a:chExt cx="2269361" cy="4663442"/>
            </a:xfrm>
          </p:grpSpPr>
          <p:sp>
            <p:nvSpPr>
              <p:cNvPr id="50" name="Freeform 59">
                <a:extLst>
                  <a:ext uri="{FF2B5EF4-FFF2-40B4-BE49-F238E27FC236}">
                    <a16:creationId xmlns:a16="http://schemas.microsoft.com/office/drawing/2014/main" id="{27EF7667-585B-4245-8A7B-FB4B50B16A9E}"/>
                  </a:ext>
                </a:extLst>
              </p:cNvPr>
              <p:cNvSpPr>
                <a:spLocks/>
              </p:cNvSpPr>
              <p:nvPr/>
            </p:nvSpPr>
            <p:spPr bwMode="auto">
              <a:xfrm rot="60000">
                <a:off x="361124" y="1543757"/>
                <a:ext cx="1938983" cy="1746819"/>
              </a:xfrm>
              <a:custGeom>
                <a:avLst/>
                <a:gdLst/>
                <a:ahLst/>
                <a:cxnLst>
                  <a:cxn ang="0">
                    <a:pos x="174" y="281"/>
                  </a:cxn>
                  <a:cxn ang="0">
                    <a:pos x="305" y="204"/>
                  </a:cxn>
                  <a:cxn ang="0">
                    <a:pos x="280" y="133"/>
                  </a:cxn>
                  <a:cxn ang="0">
                    <a:pos x="49" y="9"/>
                  </a:cxn>
                  <a:cxn ang="0">
                    <a:pos x="1" y="33"/>
                  </a:cxn>
                  <a:cxn ang="0">
                    <a:pos x="3" y="194"/>
                  </a:cxn>
                  <a:cxn ang="0">
                    <a:pos x="23" y="226"/>
                  </a:cxn>
                  <a:cxn ang="0">
                    <a:pos x="110" y="271"/>
                  </a:cxn>
                  <a:cxn ang="0">
                    <a:pos x="174" y="281"/>
                  </a:cxn>
                </a:cxnLst>
                <a:rect l="0" t="0" r="r" b="b"/>
                <a:pathLst>
                  <a:path w="335" h="304">
                    <a:moveTo>
                      <a:pt x="174" y="281"/>
                    </a:moveTo>
                    <a:cubicBezTo>
                      <a:pt x="195" y="268"/>
                      <a:pt x="305" y="204"/>
                      <a:pt x="305" y="204"/>
                    </a:cubicBezTo>
                    <a:cubicBezTo>
                      <a:pt x="305" y="204"/>
                      <a:pt x="335" y="192"/>
                      <a:pt x="280" y="133"/>
                    </a:cubicBezTo>
                    <a:cubicBezTo>
                      <a:pt x="225" y="76"/>
                      <a:pt x="149" y="24"/>
                      <a:pt x="49" y="9"/>
                    </a:cubicBezTo>
                    <a:cubicBezTo>
                      <a:pt x="36" y="7"/>
                      <a:pt x="0" y="0"/>
                      <a:pt x="1" y="33"/>
                    </a:cubicBezTo>
                    <a:cubicBezTo>
                      <a:pt x="2" y="65"/>
                      <a:pt x="3" y="194"/>
                      <a:pt x="3" y="194"/>
                    </a:cubicBezTo>
                    <a:cubicBezTo>
                      <a:pt x="3" y="194"/>
                      <a:pt x="3" y="219"/>
                      <a:pt x="23" y="226"/>
                    </a:cubicBezTo>
                    <a:cubicBezTo>
                      <a:pt x="43" y="233"/>
                      <a:pt x="85" y="249"/>
                      <a:pt x="110" y="271"/>
                    </a:cubicBezTo>
                    <a:cubicBezTo>
                      <a:pt x="133" y="292"/>
                      <a:pt x="138" y="304"/>
                      <a:pt x="174" y="281"/>
                    </a:cubicBezTo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51" name="Freeform 58">
                <a:extLst>
                  <a:ext uri="{FF2B5EF4-FFF2-40B4-BE49-F238E27FC236}">
                    <a16:creationId xmlns:a16="http://schemas.microsoft.com/office/drawing/2014/main" id="{C71CC667-79F6-42CA-8CEB-E74DE89D8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078" y="2745092"/>
                <a:ext cx="1423195" cy="2210327"/>
              </a:xfrm>
              <a:custGeom>
                <a:avLst/>
                <a:gdLst/>
                <a:ahLst/>
                <a:cxnLst>
                  <a:cxn ang="0">
                    <a:pos x="38" y="293"/>
                  </a:cxn>
                  <a:cxn ang="0">
                    <a:pos x="171" y="365"/>
                  </a:cxn>
                  <a:cxn ang="0">
                    <a:pos x="219" y="308"/>
                  </a:cxn>
                  <a:cxn ang="0">
                    <a:pos x="208" y="47"/>
                  </a:cxn>
                  <a:cxn ang="0">
                    <a:pos x="163" y="17"/>
                  </a:cxn>
                  <a:cxn ang="0">
                    <a:pos x="26" y="101"/>
                  </a:cxn>
                  <a:cxn ang="0">
                    <a:pos x="8" y="135"/>
                  </a:cxn>
                  <a:cxn ang="0">
                    <a:pos x="14" y="233"/>
                  </a:cxn>
                  <a:cxn ang="0">
                    <a:pos x="38" y="293"/>
                  </a:cxn>
                </a:cxnLst>
                <a:rect l="0" t="0" r="r" b="b"/>
                <a:pathLst>
                  <a:path w="246" h="385">
                    <a:moveTo>
                      <a:pt x="38" y="293"/>
                    </a:moveTo>
                    <a:cubicBezTo>
                      <a:pt x="60" y="304"/>
                      <a:pt x="171" y="365"/>
                      <a:pt x="171" y="365"/>
                    </a:cubicBezTo>
                    <a:cubicBezTo>
                      <a:pt x="171" y="365"/>
                      <a:pt x="197" y="385"/>
                      <a:pt x="219" y="308"/>
                    </a:cubicBezTo>
                    <a:cubicBezTo>
                      <a:pt x="241" y="232"/>
                      <a:pt x="246" y="140"/>
                      <a:pt x="208" y="47"/>
                    </a:cubicBezTo>
                    <a:cubicBezTo>
                      <a:pt x="203" y="35"/>
                      <a:pt x="191" y="0"/>
                      <a:pt x="163" y="17"/>
                    </a:cubicBezTo>
                    <a:cubicBezTo>
                      <a:pt x="136" y="35"/>
                      <a:pt x="26" y="101"/>
                      <a:pt x="26" y="101"/>
                    </a:cubicBezTo>
                    <a:cubicBezTo>
                      <a:pt x="26" y="101"/>
                      <a:pt x="4" y="114"/>
                      <a:pt x="8" y="135"/>
                    </a:cubicBezTo>
                    <a:cubicBezTo>
                      <a:pt x="13" y="156"/>
                      <a:pt x="21" y="200"/>
                      <a:pt x="14" y="233"/>
                    </a:cubicBezTo>
                    <a:cubicBezTo>
                      <a:pt x="8" y="263"/>
                      <a:pt x="0" y="273"/>
                      <a:pt x="38" y="293"/>
                    </a:cubicBezTo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dirty="0"/>
              </a:p>
            </p:txBody>
          </p:sp>
          <p:sp>
            <p:nvSpPr>
              <p:cNvPr id="52" name="Freeform 60">
                <a:extLst>
                  <a:ext uri="{FF2B5EF4-FFF2-40B4-BE49-F238E27FC236}">
                    <a16:creationId xmlns:a16="http://schemas.microsoft.com/office/drawing/2014/main" id="{77B933F1-2D56-4C65-9AA9-F52231C93B56}"/>
                  </a:ext>
                </a:extLst>
              </p:cNvPr>
              <p:cNvSpPr>
                <a:spLocks/>
              </p:cNvSpPr>
              <p:nvPr/>
            </p:nvSpPr>
            <p:spPr bwMode="auto">
              <a:xfrm rot="120000">
                <a:off x="357912" y="4460380"/>
                <a:ext cx="1923062" cy="1746819"/>
              </a:xfrm>
              <a:custGeom>
                <a:avLst/>
                <a:gdLst/>
                <a:ahLst/>
                <a:cxnLst>
                  <a:cxn ang="0">
                    <a:pos x="2" y="120"/>
                  </a:cxn>
                  <a:cxn ang="0">
                    <a:pos x="7" y="272"/>
                  </a:cxn>
                  <a:cxn ang="0">
                    <a:pos x="81" y="284"/>
                  </a:cxn>
                  <a:cxn ang="0">
                    <a:pos x="300" y="141"/>
                  </a:cxn>
                  <a:cxn ang="0">
                    <a:pos x="303" y="88"/>
                  </a:cxn>
                  <a:cxn ang="0">
                    <a:pos x="160" y="12"/>
                  </a:cxn>
                  <a:cxn ang="0">
                    <a:pos x="123" y="14"/>
                  </a:cxn>
                  <a:cxn ang="0">
                    <a:pos x="41" y="69"/>
                  </a:cxn>
                  <a:cxn ang="0">
                    <a:pos x="2" y="120"/>
                  </a:cxn>
                </a:cxnLst>
                <a:rect l="0" t="0" r="r" b="b"/>
                <a:pathLst>
                  <a:path w="332" h="304">
                    <a:moveTo>
                      <a:pt x="2" y="120"/>
                    </a:moveTo>
                    <a:cubicBezTo>
                      <a:pt x="3" y="145"/>
                      <a:pt x="7" y="272"/>
                      <a:pt x="7" y="272"/>
                    </a:cubicBezTo>
                    <a:cubicBezTo>
                      <a:pt x="7" y="272"/>
                      <a:pt x="4" y="304"/>
                      <a:pt x="81" y="284"/>
                    </a:cubicBezTo>
                    <a:cubicBezTo>
                      <a:pt x="158" y="264"/>
                      <a:pt x="240" y="222"/>
                      <a:pt x="300" y="141"/>
                    </a:cubicBezTo>
                    <a:cubicBezTo>
                      <a:pt x="308" y="131"/>
                      <a:pt x="332" y="102"/>
                      <a:pt x="303" y="88"/>
                    </a:cubicBezTo>
                    <a:cubicBezTo>
                      <a:pt x="274" y="73"/>
                      <a:pt x="160" y="12"/>
                      <a:pt x="160" y="12"/>
                    </a:cubicBezTo>
                    <a:cubicBezTo>
                      <a:pt x="160" y="12"/>
                      <a:pt x="139" y="0"/>
                      <a:pt x="123" y="14"/>
                    </a:cubicBezTo>
                    <a:cubicBezTo>
                      <a:pt x="107" y="29"/>
                      <a:pt x="73" y="58"/>
                      <a:pt x="41" y="69"/>
                    </a:cubicBezTo>
                    <a:cubicBezTo>
                      <a:pt x="12" y="80"/>
                      <a:pt x="0" y="78"/>
                      <a:pt x="2" y="120"/>
                    </a:cubicBezTo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dirty="0"/>
              </a:p>
            </p:txBody>
          </p:sp>
          <p:pic>
            <p:nvPicPr>
              <p:cNvPr id="56" name="Graphic 55">
                <a:extLst>
                  <a:ext uri="{FF2B5EF4-FFF2-40B4-BE49-F238E27FC236}">
                    <a16:creationId xmlns:a16="http://schemas.microsoft.com/office/drawing/2014/main" id="{F3F72DB9-91A5-4A12-A811-2E8B30636B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89543" y="2079274"/>
                <a:ext cx="640080" cy="640080"/>
              </a:xfrm>
              <a:prstGeom prst="rect">
                <a:avLst/>
              </a:prstGeom>
            </p:spPr>
          </p:pic>
          <p:pic>
            <p:nvPicPr>
              <p:cNvPr id="57" name="Graphic 56">
                <a:extLst>
                  <a:ext uri="{FF2B5EF4-FFF2-40B4-BE49-F238E27FC236}">
                    <a16:creationId xmlns:a16="http://schemas.microsoft.com/office/drawing/2014/main" id="{AC9E303C-9DB8-4193-8781-B73D5BEC41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595635" y="3512362"/>
                <a:ext cx="640080" cy="640080"/>
              </a:xfrm>
              <a:prstGeom prst="rect">
                <a:avLst/>
              </a:prstGeom>
            </p:spPr>
          </p:pic>
          <p:pic>
            <p:nvPicPr>
              <p:cNvPr id="58" name="Graphic 57">
                <a:extLst>
                  <a:ext uri="{FF2B5EF4-FFF2-40B4-BE49-F238E27FC236}">
                    <a16:creationId xmlns:a16="http://schemas.microsoft.com/office/drawing/2014/main" id="{0AAC33D4-15DB-4BD4-A134-5BB8502B50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89543" y="4995896"/>
                <a:ext cx="640080" cy="64008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64842802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CFFA401-B663-49D6-B4FA-86EC015B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9495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7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: Rounded Corners 303">
            <a:extLst>
              <a:ext uri="{FF2B5EF4-FFF2-40B4-BE49-F238E27FC236}">
                <a16:creationId xmlns:a16="http://schemas.microsoft.com/office/drawing/2014/main" id="{7953F5B7-408D-46A9-B3EF-A1313F8BEC97}"/>
              </a:ext>
            </a:extLst>
          </p:cNvPr>
          <p:cNvSpPr/>
          <p:nvPr/>
        </p:nvSpPr>
        <p:spPr bwMode="auto">
          <a:xfrm>
            <a:off x="417513" y="1520825"/>
            <a:ext cx="3886424" cy="476408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82800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400" dirty="0">
              <a:solidFill>
                <a:srgbClr val="509AAF"/>
              </a:solidFill>
              <a:latin typeface="IBM Plex Sans" panose="020B050305020300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9072562" cy="539750"/>
          </a:xfrm>
        </p:spPr>
        <p:txBody>
          <a:bodyPr vert="horz"/>
          <a:lstStyle/>
          <a:p>
            <a:r>
              <a:rPr lang="en-US" dirty="0"/>
              <a:t>Client </a:t>
            </a:r>
            <a:r>
              <a:rPr lang="en-US"/>
              <a:t>inspiration 4/4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</p:spPr>
        <p:txBody>
          <a:bodyPr/>
          <a:lstStyle/>
          <a:p>
            <a:fld id="{66AFC10B-F707-4E2E-A165-AA17571AEF0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C1DE7D-CD51-4E08-9061-00999110FA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1F547E5-24B6-FF4E-90CC-DF74F4B3E8C4}"/>
              </a:ext>
            </a:extLst>
          </p:cNvPr>
          <p:cNvSpPr/>
          <p:nvPr/>
        </p:nvSpPr>
        <p:spPr>
          <a:xfrm>
            <a:off x="1052370" y="2659007"/>
            <a:ext cx="2902204" cy="2902204"/>
          </a:xfrm>
          <a:prstGeom prst="ellipse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IBM Plex Sans" panose="020B0503050203000203" pitchFamily="34" charset="0"/>
            </a:endParaRPr>
          </a:p>
        </p:txBody>
      </p:sp>
      <p:sp>
        <p:nvSpPr>
          <p:cNvPr id="42" name="Pie 3">
            <a:extLst>
              <a:ext uri="{FF2B5EF4-FFF2-40B4-BE49-F238E27FC236}">
                <a16:creationId xmlns:a16="http://schemas.microsoft.com/office/drawing/2014/main" id="{F663ACCD-A12F-F64C-B6C7-D8505B5D0018}"/>
              </a:ext>
            </a:extLst>
          </p:cNvPr>
          <p:cNvSpPr/>
          <p:nvPr/>
        </p:nvSpPr>
        <p:spPr>
          <a:xfrm>
            <a:off x="780288" y="2386925"/>
            <a:ext cx="3446367" cy="3446367"/>
          </a:xfrm>
          <a:prstGeom prst="pie">
            <a:avLst>
              <a:gd name="adj1" fmla="val 7871380"/>
              <a:gd name="adj2" fmla="val 18986575"/>
            </a:avLst>
          </a:pr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262626"/>
              </a:solidFill>
              <a:latin typeface="IBM Plex Sans" panose="020B0503050203000203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34597D45-9E3E-FC44-8D11-D6870FB2BB93}"/>
              </a:ext>
            </a:extLst>
          </p:cNvPr>
          <p:cNvSpPr/>
          <p:nvPr/>
        </p:nvSpPr>
        <p:spPr>
          <a:xfrm>
            <a:off x="1415146" y="3021782"/>
            <a:ext cx="2176653" cy="21766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IBM Plex Sans" panose="020B0503050203000203" pitchFamily="34" charset="0"/>
            </a:endParaRPr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CD2F513E-2022-B640-BB25-7648CF5647B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7946" y="3184582"/>
            <a:ext cx="1851054" cy="1851054"/>
          </a:xfrm>
          <a:custGeom>
            <a:avLst/>
            <a:gdLst/>
            <a:ahLst/>
            <a:cxnLst>
              <a:cxn ang="0">
                <a:pos x="0" y="192"/>
              </a:cxn>
              <a:cxn ang="0">
                <a:pos x="255" y="135"/>
              </a:cxn>
              <a:cxn ang="0">
                <a:pos x="277" y="122"/>
              </a:cxn>
              <a:cxn ang="0">
                <a:pos x="303" y="116"/>
              </a:cxn>
              <a:cxn ang="0">
                <a:pos x="296" y="105"/>
              </a:cxn>
              <a:cxn ang="0">
                <a:pos x="278" y="89"/>
              </a:cxn>
              <a:cxn ang="0">
                <a:pos x="265" y="90"/>
              </a:cxn>
              <a:cxn ang="0">
                <a:pos x="256" y="82"/>
              </a:cxn>
              <a:cxn ang="0">
                <a:pos x="231" y="73"/>
              </a:cxn>
              <a:cxn ang="0">
                <a:pos x="234" y="98"/>
              </a:cxn>
              <a:cxn ang="0">
                <a:pos x="224" y="118"/>
              </a:cxn>
              <a:cxn ang="0">
                <a:pos x="205" y="103"/>
              </a:cxn>
              <a:cxn ang="0">
                <a:pos x="175" y="89"/>
              </a:cxn>
              <a:cxn ang="0">
                <a:pos x="183" y="68"/>
              </a:cxn>
              <a:cxn ang="0">
                <a:pos x="212" y="58"/>
              </a:cxn>
              <a:cxn ang="0">
                <a:pos x="207" y="47"/>
              </a:cxn>
              <a:cxn ang="0">
                <a:pos x="188" y="50"/>
              </a:cxn>
              <a:cxn ang="0">
                <a:pos x="168" y="37"/>
              </a:cxn>
              <a:cxn ang="0">
                <a:pos x="171" y="52"/>
              </a:cxn>
              <a:cxn ang="0">
                <a:pos x="157" y="52"/>
              </a:cxn>
              <a:cxn ang="0">
                <a:pos x="141" y="40"/>
              </a:cxn>
              <a:cxn ang="0">
                <a:pos x="126" y="47"/>
              </a:cxn>
              <a:cxn ang="0">
                <a:pos x="143" y="51"/>
              </a:cxn>
              <a:cxn ang="0">
                <a:pos x="131" y="58"/>
              </a:cxn>
              <a:cxn ang="0">
                <a:pos x="56" y="107"/>
              </a:cxn>
              <a:cxn ang="0">
                <a:pos x="65" y="118"/>
              </a:cxn>
              <a:cxn ang="0">
                <a:pos x="79" y="135"/>
              </a:cxn>
              <a:cxn ang="0">
                <a:pos x="74" y="158"/>
              </a:cxn>
              <a:cxn ang="0">
                <a:pos x="88" y="185"/>
              </a:cxn>
              <a:cxn ang="0">
                <a:pos x="108" y="214"/>
              </a:cxn>
              <a:cxn ang="0">
                <a:pos x="118" y="227"/>
              </a:cxn>
              <a:cxn ang="0">
                <a:pos x="105" y="197"/>
              </a:cxn>
              <a:cxn ang="0">
                <a:pos x="125" y="225"/>
              </a:cxn>
              <a:cxn ang="0">
                <a:pos x="150" y="255"/>
              </a:cxn>
              <a:cxn ang="0">
                <a:pos x="184" y="269"/>
              </a:cxn>
              <a:cxn ang="0">
                <a:pos x="213" y="290"/>
              </a:cxn>
              <a:cxn ang="0">
                <a:pos x="224" y="288"/>
              </a:cxn>
              <a:cxn ang="0">
                <a:pos x="212" y="268"/>
              </a:cxn>
              <a:cxn ang="0">
                <a:pos x="197" y="262"/>
              </a:cxn>
              <a:cxn ang="0">
                <a:pos x="194" y="239"/>
              </a:cxn>
              <a:cxn ang="0">
                <a:pos x="171" y="250"/>
              </a:cxn>
              <a:cxn ang="0">
                <a:pos x="168" y="210"/>
              </a:cxn>
              <a:cxn ang="0">
                <a:pos x="184" y="206"/>
              </a:cxn>
              <a:cxn ang="0">
                <a:pos x="196" y="202"/>
              </a:cxn>
              <a:cxn ang="0">
                <a:pos x="214" y="211"/>
              </a:cxn>
              <a:cxn ang="0">
                <a:pos x="221" y="205"/>
              </a:cxn>
              <a:cxn ang="0">
                <a:pos x="234" y="179"/>
              </a:cxn>
              <a:cxn ang="0">
                <a:pos x="233" y="171"/>
              </a:cxn>
              <a:cxn ang="0">
                <a:pos x="252" y="157"/>
              </a:cxn>
              <a:cxn ang="0">
                <a:pos x="266" y="143"/>
              </a:cxn>
              <a:cxn ang="0">
                <a:pos x="273" y="131"/>
              </a:cxn>
              <a:cxn ang="0">
                <a:pos x="255" y="135"/>
              </a:cxn>
              <a:cxn ang="0">
                <a:pos x="295" y="298"/>
              </a:cxn>
              <a:cxn ang="0">
                <a:pos x="272" y="288"/>
              </a:cxn>
              <a:cxn ang="0">
                <a:pos x="251" y="288"/>
              </a:cxn>
              <a:cxn ang="0">
                <a:pos x="236" y="286"/>
              </a:cxn>
              <a:cxn ang="0">
                <a:pos x="230" y="307"/>
              </a:cxn>
              <a:cxn ang="0">
                <a:pos x="223" y="335"/>
              </a:cxn>
              <a:cxn ang="0">
                <a:pos x="308" y="302"/>
              </a:cxn>
            </a:cxnLst>
            <a:rect l="0" t="0" r="r" b="b"/>
            <a:pathLst>
              <a:path w="384" h="384">
                <a:moveTo>
                  <a:pt x="384" y="192"/>
                </a:moveTo>
                <a:cubicBezTo>
                  <a:pt x="384" y="298"/>
                  <a:pt x="298" y="384"/>
                  <a:pt x="192" y="384"/>
                </a:cubicBezTo>
                <a:cubicBezTo>
                  <a:pt x="86" y="384"/>
                  <a:pt x="0" y="298"/>
                  <a:pt x="0" y="192"/>
                </a:cubicBezTo>
                <a:cubicBezTo>
                  <a:pt x="0" y="86"/>
                  <a:pt x="86" y="0"/>
                  <a:pt x="192" y="0"/>
                </a:cubicBezTo>
                <a:cubicBezTo>
                  <a:pt x="298" y="0"/>
                  <a:pt x="384" y="86"/>
                  <a:pt x="384" y="192"/>
                </a:cubicBezTo>
                <a:close/>
                <a:moveTo>
                  <a:pt x="255" y="135"/>
                </a:moveTo>
                <a:cubicBezTo>
                  <a:pt x="256" y="135"/>
                  <a:pt x="257" y="130"/>
                  <a:pt x="258" y="129"/>
                </a:cubicBezTo>
                <a:cubicBezTo>
                  <a:pt x="260" y="127"/>
                  <a:pt x="262" y="126"/>
                  <a:pt x="264" y="125"/>
                </a:cubicBezTo>
                <a:cubicBezTo>
                  <a:pt x="268" y="124"/>
                  <a:pt x="272" y="123"/>
                  <a:pt x="277" y="122"/>
                </a:cubicBezTo>
                <a:cubicBezTo>
                  <a:pt x="281" y="121"/>
                  <a:pt x="286" y="121"/>
                  <a:pt x="289" y="125"/>
                </a:cubicBezTo>
                <a:cubicBezTo>
                  <a:pt x="289" y="124"/>
                  <a:pt x="295" y="119"/>
                  <a:pt x="295" y="119"/>
                </a:cubicBezTo>
                <a:cubicBezTo>
                  <a:pt x="298" y="118"/>
                  <a:pt x="301" y="118"/>
                  <a:pt x="303" y="116"/>
                </a:cubicBezTo>
                <a:cubicBezTo>
                  <a:pt x="303" y="115"/>
                  <a:pt x="303" y="110"/>
                  <a:pt x="303" y="110"/>
                </a:cubicBezTo>
                <a:cubicBezTo>
                  <a:pt x="299" y="111"/>
                  <a:pt x="298" y="107"/>
                  <a:pt x="297" y="103"/>
                </a:cubicBezTo>
                <a:cubicBezTo>
                  <a:pt x="297" y="104"/>
                  <a:pt x="297" y="104"/>
                  <a:pt x="296" y="105"/>
                </a:cubicBezTo>
                <a:cubicBezTo>
                  <a:pt x="296" y="102"/>
                  <a:pt x="291" y="104"/>
                  <a:pt x="290" y="104"/>
                </a:cubicBezTo>
                <a:cubicBezTo>
                  <a:pt x="284" y="102"/>
                  <a:pt x="285" y="98"/>
                  <a:pt x="283" y="94"/>
                </a:cubicBezTo>
                <a:cubicBezTo>
                  <a:pt x="282" y="92"/>
                  <a:pt x="279" y="91"/>
                  <a:pt x="278" y="89"/>
                </a:cubicBezTo>
                <a:cubicBezTo>
                  <a:pt x="277" y="87"/>
                  <a:pt x="277" y="84"/>
                  <a:pt x="274" y="84"/>
                </a:cubicBezTo>
                <a:cubicBezTo>
                  <a:pt x="273" y="84"/>
                  <a:pt x="270" y="89"/>
                  <a:pt x="270" y="89"/>
                </a:cubicBezTo>
                <a:cubicBezTo>
                  <a:pt x="267" y="88"/>
                  <a:pt x="266" y="89"/>
                  <a:pt x="265" y="90"/>
                </a:cubicBezTo>
                <a:cubicBezTo>
                  <a:pt x="263" y="91"/>
                  <a:pt x="262" y="91"/>
                  <a:pt x="260" y="92"/>
                </a:cubicBezTo>
                <a:cubicBezTo>
                  <a:pt x="265" y="90"/>
                  <a:pt x="258" y="88"/>
                  <a:pt x="256" y="88"/>
                </a:cubicBezTo>
                <a:cubicBezTo>
                  <a:pt x="260" y="87"/>
                  <a:pt x="258" y="83"/>
                  <a:pt x="256" y="82"/>
                </a:cubicBezTo>
                <a:cubicBezTo>
                  <a:pt x="256" y="82"/>
                  <a:pt x="257" y="82"/>
                  <a:pt x="257" y="82"/>
                </a:cubicBezTo>
                <a:cubicBezTo>
                  <a:pt x="257" y="79"/>
                  <a:pt x="250" y="77"/>
                  <a:pt x="247" y="76"/>
                </a:cubicBezTo>
                <a:cubicBezTo>
                  <a:pt x="245" y="74"/>
                  <a:pt x="233" y="72"/>
                  <a:pt x="231" y="73"/>
                </a:cubicBezTo>
                <a:cubicBezTo>
                  <a:pt x="228" y="75"/>
                  <a:pt x="231" y="80"/>
                  <a:pt x="231" y="83"/>
                </a:cubicBezTo>
                <a:cubicBezTo>
                  <a:pt x="232" y="86"/>
                  <a:pt x="228" y="86"/>
                  <a:pt x="228" y="89"/>
                </a:cubicBezTo>
                <a:cubicBezTo>
                  <a:pt x="228" y="93"/>
                  <a:pt x="236" y="92"/>
                  <a:pt x="234" y="98"/>
                </a:cubicBezTo>
                <a:cubicBezTo>
                  <a:pt x="233" y="102"/>
                  <a:pt x="228" y="102"/>
                  <a:pt x="226" y="105"/>
                </a:cubicBezTo>
                <a:cubicBezTo>
                  <a:pt x="224" y="108"/>
                  <a:pt x="227" y="112"/>
                  <a:pt x="229" y="114"/>
                </a:cubicBezTo>
                <a:cubicBezTo>
                  <a:pt x="231" y="115"/>
                  <a:pt x="225" y="118"/>
                  <a:pt x="224" y="118"/>
                </a:cubicBezTo>
                <a:cubicBezTo>
                  <a:pt x="220" y="120"/>
                  <a:pt x="217" y="114"/>
                  <a:pt x="216" y="110"/>
                </a:cubicBezTo>
                <a:cubicBezTo>
                  <a:pt x="215" y="108"/>
                  <a:pt x="215" y="104"/>
                  <a:pt x="212" y="103"/>
                </a:cubicBezTo>
                <a:cubicBezTo>
                  <a:pt x="210" y="102"/>
                  <a:pt x="206" y="102"/>
                  <a:pt x="205" y="103"/>
                </a:cubicBezTo>
                <a:cubicBezTo>
                  <a:pt x="203" y="99"/>
                  <a:pt x="198" y="98"/>
                  <a:pt x="194" y="97"/>
                </a:cubicBezTo>
                <a:cubicBezTo>
                  <a:pt x="189" y="95"/>
                  <a:pt x="185" y="95"/>
                  <a:pt x="180" y="96"/>
                </a:cubicBezTo>
                <a:cubicBezTo>
                  <a:pt x="181" y="95"/>
                  <a:pt x="179" y="88"/>
                  <a:pt x="175" y="89"/>
                </a:cubicBezTo>
                <a:cubicBezTo>
                  <a:pt x="176" y="86"/>
                  <a:pt x="176" y="84"/>
                  <a:pt x="176" y="81"/>
                </a:cubicBezTo>
                <a:cubicBezTo>
                  <a:pt x="177" y="79"/>
                  <a:pt x="178" y="77"/>
                  <a:pt x="179" y="75"/>
                </a:cubicBezTo>
                <a:cubicBezTo>
                  <a:pt x="180" y="74"/>
                  <a:pt x="185" y="69"/>
                  <a:pt x="183" y="68"/>
                </a:cubicBezTo>
                <a:cubicBezTo>
                  <a:pt x="188" y="69"/>
                  <a:pt x="193" y="69"/>
                  <a:pt x="196" y="66"/>
                </a:cubicBezTo>
                <a:cubicBezTo>
                  <a:pt x="198" y="63"/>
                  <a:pt x="199" y="60"/>
                  <a:pt x="202" y="57"/>
                </a:cubicBezTo>
                <a:cubicBezTo>
                  <a:pt x="205" y="53"/>
                  <a:pt x="209" y="58"/>
                  <a:pt x="212" y="58"/>
                </a:cubicBezTo>
                <a:cubicBezTo>
                  <a:pt x="217" y="59"/>
                  <a:pt x="217" y="53"/>
                  <a:pt x="214" y="51"/>
                </a:cubicBezTo>
                <a:cubicBezTo>
                  <a:pt x="218" y="51"/>
                  <a:pt x="215" y="45"/>
                  <a:pt x="213" y="44"/>
                </a:cubicBezTo>
                <a:cubicBezTo>
                  <a:pt x="211" y="43"/>
                  <a:pt x="202" y="46"/>
                  <a:pt x="207" y="47"/>
                </a:cubicBezTo>
                <a:cubicBezTo>
                  <a:pt x="206" y="47"/>
                  <a:pt x="200" y="59"/>
                  <a:pt x="196" y="53"/>
                </a:cubicBezTo>
                <a:cubicBezTo>
                  <a:pt x="195" y="52"/>
                  <a:pt x="195" y="47"/>
                  <a:pt x="193" y="46"/>
                </a:cubicBezTo>
                <a:cubicBezTo>
                  <a:pt x="190" y="46"/>
                  <a:pt x="189" y="49"/>
                  <a:pt x="188" y="50"/>
                </a:cubicBezTo>
                <a:cubicBezTo>
                  <a:pt x="190" y="47"/>
                  <a:pt x="181" y="45"/>
                  <a:pt x="180" y="44"/>
                </a:cubicBezTo>
                <a:cubicBezTo>
                  <a:pt x="183" y="42"/>
                  <a:pt x="180" y="39"/>
                  <a:pt x="178" y="38"/>
                </a:cubicBezTo>
                <a:cubicBezTo>
                  <a:pt x="176" y="36"/>
                  <a:pt x="169" y="35"/>
                  <a:pt x="168" y="37"/>
                </a:cubicBezTo>
                <a:cubicBezTo>
                  <a:pt x="163" y="43"/>
                  <a:pt x="173" y="44"/>
                  <a:pt x="175" y="45"/>
                </a:cubicBezTo>
                <a:cubicBezTo>
                  <a:pt x="176" y="46"/>
                  <a:pt x="179" y="48"/>
                  <a:pt x="177" y="49"/>
                </a:cubicBezTo>
                <a:cubicBezTo>
                  <a:pt x="176" y="50"/>
                  <a:pt x="171" y="51"/>
                  <a:pt x="171" y="52"/>
                </a:cubicBezTo>
                <a:cubicBezTo>
                  <a:pt x="169" y="54"/>
                  <a:pt x="172" y="57"/>
                  <a:pt x="170" y="59"/>
                </a:cubicBezTo>
                <a:cubicBezTo>
                  <a:pt x="168" y="57"/>
                  <a:pt x="168" y="53"/>
                  <a:pt x="166" y="50"/>
                </a:cubicBezTo>
                <a:cubicBezTo>
                  <a:pt x="168" y="53"/>
                  <a:pt x="157" y="52"/>
                  <a:pt x="157" y="52"/>
                </a:cubicBezTo>
                <a:cubicBezTo>
                  <a:pt x="154" y="52"/>
                  <a:pt x="148" y="54"/>
                  <a:pt x="145" y="50"/>
                </a:cubicBezTo>
                <a:cubicBezTo>
                  <a:pt x="144" y="49"/>
                  <a:pt x="144" y="44"/>
                  <a:pt x="146" y="45"/>
                </a:cubicBezTo>
                <a:cubicBezTo>
                  <a:pt x="144" y="43"/>
                  <a:pt x="142" y="41"/>
                  <a:pt x="141" y="40"/>
                </a:cubicBezTo>
                <a:cubicBezTo>
                  <a:pt x="132" y="43"/>
                  <a:pt x="125" y="47"/>
                  <a:pt x="117" y="51"/>
                </a:cubicBezTo>
                <a:cubicBezTo>
                  <a:pt x="118" y="51"/>
                  <a:pt x="119" y="51"/>
                  <a:pt x="120" y="50"/>
                </a:cubicBezTo>
                <a:cubicBezTo>
                  <a:pt x="122" y="50"/>
                  <a:pt x="124" y="48"/>
                  <a:pt x="126" y="47"/>
                </a:cubicBezTo>
                <a:cubicBezTo>
                  <a:pt x="128" y="46"/>
                  <a:pt x="134" y="43"/>
                  <a:pt x="136" y="46"/>
                </a:cubicBezTo>
                <a:cubicBezTo>
                  <a:pt x="137" y="45"/>
                  <a:pt x="137" y="45"/>
                  <a:pt x="138" y="44"/>
                </a:cubicBezTo>
                <a:cubicBezTo>
                  <a:pt x="139" y="46"/>
                  <a:pt x="141" y="48"/>
                  <a:pt x="143" y="51"/>
                </a:cubicBezTo>
                <a:cubicBezTo>
                  <a:pt x="141" y="50"/>
                  <a:pt x="137" y="50"/>
                  <a:pt x="135" y="50"/>
                </a:cubicBezTo>
                <a:cubicBezTo>
                  <a:pt x="133" y="51"/>
                  <a:pt x="130" y="51"/>
                  <a:pt x="130" y="53"/>
                </a:cubicBezTo>
                <a:cubicBezTo>
                  <a:pt x="130" y="55"/>
                  <a:pt x="131" y="57"/>
                  <a:pt x="131" y="58"/>
                </a:cubicBezTo>
                <a:cubicBezTo>
                  <a:pt x="128" y="56"/>
                  <a:pt x="125" y="52"/>
                  <a:pt x="121" y="51"/>
                </a:cubicBezTo>
                <a:cubicBezTo>
                  <a:pt x="119" y="51"/>
                  <a:pt x="117" y="51"/>
                  <a:pt x="115" y="52"/>
                </a:cubicBezTo>
                <a:cubicBezTo>
                  <a:pt x="91" y="65"/>
                  <a:pt x="71" y="84"/>
                  <a:pt x="56" y="107"/>
                </a:cubicBezTo>
                <a:cubicBezTo>
                  <a:pt x="57" y="108"/>
                  <a:pt x="58" y="109"/>
                  <a:pt x="59" y="109"/>
                </a:cubicBezTo>
                <a:cubicBezTo>
                  <a:pt x="62" y="110"/>
                  <a:pt x="59" y="117"/>
                  <a:pt x="64" y="113"/>
                </a:cubicBezTo>
                <a:cubicBezTo>
                  <a:pt x="66" y="115"/>
                  <a:pt x="66" y="116"/>
                  <a:pt x="65" y="118"/>
                </a:cubicBezTo>
                <a:cubicBezTo>
                  <a:pt x="65" y="118"/>
                  <a:pt x="75" y="124"/>
                  <a:pt x="76" y="125"/>
                </a:cubicBezTo>
                <a:cubicBezTo>
                  <a:pt x="78" y="126"/>
                  <a:pt x="80" y="128"/>
                  <a:pt x="81" y="130"/>
                </a:cubicBezTo>
                <a:cubicBezTo>
                  <a:pt x="82" y="132"/>
                  <a:pt x="80" y="134"/>
                  <a:pt x="79" y="135"/>
                </a:cubicBezTo>
                <a:cubicBezTo>
                  <a:pt x="78" y="134"/>
                  <a:pt x="75" y="130"/>
                  <a:pt x="74" y="131"/>
                </a:cubicBezTo>
                <a:cubicBezTo>
                  <a:pt x="73" y="133"/>
                  <a:pt x="74" y="139"/>
                  <a:pt x="77" y="139"/>
                </a:cubicBezTo>
                <a:cubicBezTo>
                  <a:pt x="73" y="139"/>
                  <a:pt x="75" y="155"/>
                  <a:pt x="74" y="158"/>
                </a:cubicBezTo>
                <a:cubicBezTo>
                  <a:pt x="74" y="158"/>
                  <a:pt x="74" y="158"/>
                  <a:pt x="74" y="158"/>
                </a:cubicBezTo>
                <a:cubicBezTo>
                  <a:pt x="73" y="161"/>
                  <a:pt x="76" y="173"/>
                  <a:pt x="81" y="172"/>
                </a:cubicBezTo>
                <a:cubicBezTo>
                  <a:pt x="78" y="172"/>
                  <a:pt x="87" y="184"/>
                  <a:pt x="88" y="185"/>
                </a:cubicBezTo>
                <a:cubicBezTo>
                  <a:pt x="91" y="187"/>
                  <a:pt x="95" y="188"/>
                  <a:pt x="97" y="192"/>
                </a:cubicBezTo>
                <a:cubicBezTo>
                  <a:pt x="100" y="195"/>
                  <a:pt x="100" y="201"/>
                  <a:pt x="103" y="203"/>
                </a:cubicBezTo>
                <a:cubicBezTo>
                  <a:pt x="102" y="206"/>
                  <a:pt x="108" y="210"/>
                  <a:pt x="108" y="214"/>
                </a:cubicBezTo>
                <a:cubicBezTo>
                  <a:pt x="108" y="214"/>
                  <a:pt x="107" y="214"/>
                  <a:pt x="107" y="215"/>
                </a:cubicBezTo>
                <a:cubicBezTo>
                  <a:pt x="108" y="218"/>
                  <a:pt x="113" y="218"/>
                  <a:pt x="115" y="221"/>
                </a:cubicBezTo>
                <a:cubicBezTo>
                  <a:pt x="116" y="223"/>
                  <a:pt x="115" y="228"/>
                  <a:pt x="118" y="227"/>
                </a:cubicBezTo>
                <a:cubicBezTo>
                  <a:pt x="118" y="222"/>
                  <a:pt x="115" y="216"/>
                  <a:pt x="112" y="212"/>
                </a:cubicBezTo>
                <a:cubicBezTo>
                  <a:pt x="110" y="209"/>
                  <a:pt x="109" y="207"/>
                  <a:pt x="108" y="204"/>
                </a:cubicBezTo>
                <a:cubicBezTo>
                  <a:pt x="106" y="202"/>
                  <a:pt x="106" y="199"/>
                  <a:pt x="105" y="197"/>
                </a:cubicBezTo>
                <a:cubicBezTo>
                  <a:pt x="106" y="197"/>
                  <a:pt x="112" y="199"/>
                  <a:pt x="111" y="200"/>
                </a:cubicBezTo>
                <a:cubicBezTo>
                  <a:pt x="109" y="205"/>
                  <a:pt x="119" y="214"/>
                  <a:pt x="122" y="217"/>
                </a:cubicBezTo>
                <a:cubicBezTo>
                  <a:pt x="123" y="218"/>
                  <a:pt x="128" y="225"/>
                  <a:pt x="125" y="225"/>
                </a:cubicBezTo>
                <a:cubicBezTo>
                  <a:pt x="129" y="225"/>
                  <a:pt x="133" y="230"/>
                  <a:pt x="135" y="233"/>
                </a:cubicBezTo>
                <a:cubicBezTo>
                  <a:pt x="137" y="236"/>
                  <a:pt x="136" y="241"/>
                  <a:pt x="138" y="245"/>
                </a:cubicBezTo>
                <a:cubicBezTo>
                  <a:pt x="139" y="250"/>
                  <a:pt x="146" y="252"/>
                  <a:pt x="150" y="255"/>
                </a:cubicBezTo>
                <a:cubicBezTo>
                  <a:pt x="154" y="256"/>
                  <a:pt x="157" y="259"/>
                  <a:pt x="160" y="260"/>
                </a:cubicBezTo>
                <a:cubicBezTo>
                  <a:pt x="166" y="262"/>
                  <a:pt x="167" y="260"/>
                  <a:pt x="171" y="260"/>
                </a:cubicBezTo>
                <a:cubicBezTo>
                  <a:pt x="178" y="259"/>
                  <a:pt x="179" y="266"/>
                  <a:pt x="184" y="269"/>
                </a:cubicBezTo>
                <a:cubicBezTo>
                  <a:pt x="187" y="270"/>
                  <a:pt x="194" y="273"/>
                  <a:pt x="198" y="271"/>
                </a:cubicBezTo>
                <a:cubicBezTo>
                  <a:pt x="196" y="272"/>
                  <a:pt x="203" y="282"/>
                  <a:pt x="204" y="283"/>
                </a:cubicBezTo>
                <a:cubicBezTo>
                  <a:pt x="206" y="286"/>
                  <a:pt x="210" y="287"/>
                  <a:pt x="213" y="290"/>
                </a:cubicBezTo>
                <a:cubicBezTo>
                  <a:pt x="213" y="290"/>
                  <a:pt x="214" y="289"/>
                  <a:pt x="214" y="288"/>
                </a:cubicBezTo>
                <a:cubicBezTo>
                  <a:pt x="213" y="291"/>
                  <a:pt x="218" y="296"/>
                  <a:pt x="221" y="296"/>
                </a:cubicBezTo>
                <a:cubicBezTo>
                  <a:pt x="223" y="295"/>
                  <a:pt x="224" y="290"/>
                  <a:pt x="224" y="288"/>
                </a:cubicBezTo>
                <a:cubicBezTo>
                  <a:pt x="219" y="290"/>
                  <a:pt x="215" y="288"/>
                  <a:pt x="212" y="283"/>
                </a:cubicBezTo>
                <a:cubicBezTo>
                  <a:pt x="211" y="282"/>
                  <a:pt x="207" y="275"/>
                  <a:pt x="211" y="275"/>
                </a:cubicBezTo>
                <a:cubicBezTo>
                  <a:pt x="216" y="275"/>
                  <a:pt x="212" y="271"/>
                  <a:pt x="212" y="268"/>
                </a:cubicBezTo>
                <a:cubicBezTo>
                  <a:pt x="211" y="264"/>
                  <a:pt x="208" y="262"/>
                  <a:pt x="206" y="259"/>
                </a:cubicBezTo>
                <a:cubicBezTo>
                  <a:pt x="205" y="262"/>
                  <a:pt x="200" y="261"/>
                  <a:pt x="198" y="259"/>
                </a:cubicBezTo>
                <a:cubicBezTo>
                  <a:pt x="198" y="259"/>
                  <a:pt x="197" y="261"/>
                  <a:pt x="197" y="262"/>
                </a:cubicBezTo>
                <a:cubicBezTo>
                  <a:pt x="196" y="262"/>
                  <a:pt x="195" y="262"/>
                  <a:pt x="194" y="261"/>
                </a:cubicBezTo>
                <a:cubicBezTo>
                  <a:pt x="194" y="258"/>
                  <a:pt x="194" y="255"/>
                  <a:pt x="195" y="251"/>
                </a:cubicBezTo>
                <a:cubicBezTo>
                  <a:pt x="196" y="247"/>
                  <a:pt x="205" y="238"/>
                  <a:pt x="194" y="239"/>
                </a:cubicBezTo>
                <a:cubicBezTo>
                  <a:pt x="190" y="239"/>
                  <a:pt x="188" y="240"/>
                  <a:pt x="187" y="244"/>
                </a:cubicBezTo>
                <a:cubicBezTo>
                  <a:pt x="186" y="247"/>
                  <a:pt x="186" y="249"/>
                  <a:pt x="183" y="251"/>
                </a:cubicBezTo>
                <a:cubicBezTo>
                  <a:pt x="181" y="252"/>
                  <a:pt x="173" y="251"/>
                  <a:pt x="171" y="250"/>
                </a:cubicBezTo>
                <a:cubicBezTo>
                  <a:pt x="166" y="247"/>
                  <a:pt x="163" y="239"/>
                  <a:pt x="163" y="234"/>
                </a:cubicBezTo>
                <a:cubicBezTo>
                  <a:pt x="163" y="227"/>
                  <a:pt x="166" y="221"/>
                  <a:pt x="163" y="215"/>
                </a:cubicBezTo>
                <a:cubicBezTo>
                  <a:pt x="164" y="213"/>
                  <a:pt x="166" y="211"/>
                  <a:pt x="168" y="210"/>
                </a:cubicBezTo>
                <a:cubicBezTo>
                  <a:pt x="169" y="209"/>
                  <a:pt x="171" y="210"/>
                  <a:pt x="172" y="207"/>
                </a:cubicBezTo>
                <a:cubicBezTo>
                  <a:pt x="171" y="207"/>
                  <a:pt x="170" y="206"/>
                  <a:pt x="170" y="206"/>
                </a:cubicBezTo>
                <a:cubicBezTo>
                  <a:pt x="173" y="208"/>
                  <a:pt x="180" y="203"/>
                  <a:pt x="184" y="206"/>
                </a:cubicBezTo>
                <a:cubicBezTo>
                  <a:pt x="186" y="207"/>
                  <a:pt x="188" y="208"/>
                  <a:pt x="189" y="205"/>
                </a:cubicBezTo>
                <a:cubicBezTo>
                  <a:pt x="189" y="205"/>
                  <a:pt x="187" y="202"/>
                  <a:pt x="188" y="200"/>
                </a:cubicBezTo>
                <a:cubicBezTo>
                  <a:pt x="189" y="204"/>
                  <a:pt x="192" y="205"/>
                  <a:pt x="196" y="202"/>
                </a:cubicBezTo>
                <a:cubicBezTo>
                  <a:pt x="197" y="203"/>
                  <a:pt x="201" y="203"/>
                  <a:pt x="204" y="204"/>
                </a:cubicBezTo>
                <a:cubicBezTo>
                  <a:pt x="207" y="206"/>
                  <a:pt x="207" y="209"/>
                  <a:pt x="211" y="205"/>
                </a:cubicBezTo>
                <a:cubicBezTo>
                  <a:pt x="213" y="208"/>
                  <a:pt x="213" y="208"/>
                  <a:pt x="214" y="211"/>
                </a:cubicBezTo>
                <a:cubicBezTo>
                  <a:pt x="214" y="214"/>
                  <a:pt x="216" y="221"/>
                  <a:pt x="218" y="222"/>
                </a:cubicBezTo>
                <a:cubicBezTo>
                  <a:pt x="224" y="225"/>
                  <a:pt x="222" y="217"/>
                  <a:pt x="222" y="214"/>
                </a:cubicBezTo>
                <a:cubicBezTo>
                  <a:pt x="222" y="213"/>
                  <a:pt x="222" y="205"/>
                  <a:pt x="221" y="205"/>
                </a:cubicBezTo>
                <a:cubicBezTo>
                  <a:pt x="213" y="203"/>
                  <a:pt x="216" y="197"/>
                  <a:pt x="221" y="193"/>
                </a:cubicBezTo>
                <a:cubicBezTo>
                  <a:pt x="222" y="192"/>
                  <a:pt x="227" y="190"/>
                  <a:pt x="230" y="188"/>
                </a:cubicBezTo>
                <a:cubicBezTo>
                  <a:pt x="232" y="186"/>
                  <a:pt x="235" y="183"/>
                  <a:pt x="234" y="179"/>
                </a:cubicBezTo>
                <a:cubicBezTo>
                  <a:pt x="235" y="179"/>
                  <a:pt x="236" y="178"/>
                  <a:pt x="236" y="177"/>
                </a:cubicBezTo>
                <a:cubicBezTo>
                  <a:pt x="236" y="177"/>
                  <a:pt x="233" y="174"/>
                  <a:pt x="232" y="175"/>
                </a:cubicBezTo>
                <a:cubicBezTo>
                  <a:pt x="234" y="174"/>
                  <a:pt x="234" y="172"/>
                  <a:pt x="233" y="171"/>
                </a:cubicBezTo>
                <a:cubicBezTo>
                  <a:pt x="235" y="169"/>
                  <a:pt x="234" y="166"/>
                  <a:pt x="236" y="165"/>
                </a:cubicBezTo>
                <a:cubicBezTo>
                  <a:pt x="239" y="169"/>
                  <a:pt x="245" y="165"/>
                  <a:pt x="242" y="162"/>
                </a:cubicBezTo>
                <a:cubicBezTo>
                  <a:pt x="244" y="158"/>
                  <a:pt x="250" y="160"/>
                  <a:pt x="252" y="157"/>
                </a:cubicBezTo>
                <a:cubicBezTo>
                  <a:pt x="255" y="158"/>
                  <a:pt x="253" y="153"/>
                  <a:pt x="255" y="150"/>
                </a:cubicBezTo>
                <a:cubicBezTo>
                  <a:pt x="256" y="148"/>
                  <a:pt x="259" y="148"/>
                  <a:pt x="262" y="147"/>
                </a:cubicBezTo>
                <a:cubicBezTo>
                  <a:pt x="262" y="147"/>
                  <a:pt x="268" y="143"/>
                  <a:pt x="266" y="143"/>
                </a:cubicBezTo>
                <a:cubicBezTo>
                  <a:pt x="270" y="144"/>
                  <a:pt x="279" y="139"/>
                  <a:pt x="272" y="135"/>
                </a:cubicBezTo>
                <a:cubicBezTo>
                  <a:pt x="273" y="133"/>
                  <a:pt x="270" y="132"/>
                  <a:pt x="268" y="132"/>
                </a:cubicBezTo>
                <a:cubicBezTo>
                  <a:pt x="269" y="131"/>
                  <a:pt x="272" y="132"/>
                  <a:pt x="273" y="131"/>
                </a:cubicBezTo>
                <a:cubicBezTo>
                  <a:pt x="276" y="129"/>
                  <a:pt x="274" y="128"/>
                  <a:pt x="271" y="127"/>
                </a:cubicBezTo>
                <a:cubicBezTo>
                  <a:pt x="268" y="126"/>
                  <a:pt x="263" y="128"/>
                  <a:pt x="261" y="130"/>
                </a:cubicBezTo>
                <a:cubicBezTo>
                  <a:pt x="259" y="132"/>
                  <a:pt x="257" y="134"/>
                  <a:pt x="255" y="135"/>
                </a:cubicBezTo>
                <a:close/>
                <a:moveTo>
                  <a:pt x="308" y="302"/>
                </a:moveTo>
                <a:cubicBezTo>
                  <a:pt x="306" y="301"/>
                  <a:pt x="303" y="301"/>
                  <a:pt x="301" y="300"/>
                </a:cubicBezTo>
                <a:cubicBezTo>
                  <a:pt x="299" y="300"/>
                  <a:pt x="298" y="299"/>
                  <a:pt x="295" y="298"/>
                </a:cubicBezTo>
                <a:cubicBezTo>
                  <a:pt x="296" y="293"/>
                  <a:pt x="290" y="292"/>
                  <a:pt x="287" y="289"/>
                </a:cubicBezTo>
                <a:cubicBezTo>
                  <a:pt x="284" y="287"/>
                  <a:pt x="282" y="284"/>
                  <a:pt x="277" y="285"/>
                </a:cubicBezTo>
                <a:cubicBezTo>
                  <a:pt x="276" y="285"/>
                  <a:pt x="271" y="287"/>
                  <a:pt x="272" y="288"/>
                </a:cubicBezTo>
                <a:cubicBezTo>
                  <a:pt x="269" y="285"/>
                  <a:pt x="268" y="284"/>
                  <a:pt x="263" y="282"/>
                </a:cubicBezTo>
                <a:cubicBezTo>
                  <a:pt x="259" y="281"/>
                  <a:pt x="257" y="276"/>
                  <a:pt x="253" y="281"/>
                </a:cubicBezTo>
                <a:cubicBezTo>
                  <a:pt x="251" y="283"/>
                  <a:pt x="252" y="286"/>
                  <a:pt x="251" y="288"/>
                </a:cubicBezTo>
                <a:cubicBezTo>
                  <a:pt x="247" y="285"/>
                  <a:pt x="254" y="282"/>
                  <a:pt x="251" y="279"/>
                </a:cubicBezTo>
                <a:cubicBezTo>
                  <a:pt x="248" y="275"/>
                  <a:pt x="243" y="281"/>
                  <a:pt x="240" y="282"/>
                </a:cubicBezTo>
                <a:cubicBezTo>
                  <a:pt x="239" y="284"/>
                  <a:pt x="237" y="284"/>
                  <a:pt x="236" y="286"/>
                </a:cubicBezTo>
                <a:cubicBezTo>
                  <a:pt x="235" y="287"/>
                  <a:pt x="234" y="290"/>
                  <a:pt x="233" y="291"/>
                </a:cubicBezTo>
                <a:cubicBezTo>
                  <a:pt x="233" y="289"/>
                  <a:pt x="228" y="290"/>
                  <a:pt x="228" y="288"/>
                </a:cubicBezTo>
                <a:cubicBezTo>
                  <a:pt x="229" y="294"/>
                  <a:pt x="229" y="301"/>
                  <a:pt x="230" y="307"/>
                </a:cubicBezTo>
                <a:cubicBezTo>
                  <a:pt x="231" y="310"/>
                  <a:pt x="230" y="316"/>
                  <a:pt x="227" y="319"/>
                </a:cubicBezTo>
                <a:cubicBezTo>
                  <a:pt x="224" y="321"/>
                  <a:pt x="221" y="324"/>
                  <a:pt x="220" y="329"/>
                </a:cubicBezTo>
                <a:cubicBezTo>
                  <a:pt x="220" y="332"/>
                  <a:pt x="220" y="334"/>
                  <a:pt x="223" y="335"/>
                </a:cubicBezTo>
                <a:cubicBezTo>
                  <a:pt x="223" y="339"/>
                  <a:pt x="219" y="342"/>
                  <a:pt x="219" y="346"/>
                </a:cubicBezTo>
                <a:cubicBezTo>
                  <a:pt x="219" y="346"/>
                  <a:pt x="220" y="348"/>
                  <a:pt x="220" y="350"/>
                </a:cubicBezTo>
                <a:cubicBezTo>
                  <a:pt x="254" y="344"/>
                  <a:pt x="285" y="327"/>
                  <a:pt x="308" y="30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62626"/>
              </a:solidFill>
              <a:latin typeface="IBM Plex Sans" panose="020B0503050203000203" pitchFamily="34" charset="0"/>
            </a:endParaRPr>
          </a:p>
        </p:txBody>
      </p:sp>
      <p:grpSp>
        <p:nvGrpSpPr>
          <p:cNvPr id="45" name="Group 73">
            <a:extLst>
              <a:ext uri="{FF2B5EF4-FFF2-40B4-BE49-F238E27FC236}">
                <a16:creationId xmlns:a16="http://schemas.microsoft.com/office/drawing/2014/main" id="{1D967630-E120-CA41-8813-359F987B9DAF}"/>
              </a:ext>
            </a:extLst>
          </p:cNvPr>
          <p:cNvGrpSpPr/>
          <p:nvPr/>
        </p:nvGrpSpPr>
        <p:grpSpPr>
          <a:xfrm flipH="1" flipV="1">
            <a:off x="2775555" y="5621673"/>
            <a:ext cx="920337" cy="257799"/>
            <a:chOff x="2901397" y="1460250"/>
            <a:chExt cx="930338" cy="220268"/>
          </a:xfrm>
          <a:effectLst/>
        </p:grpSpPr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5C2F28DE-B51F-7B44-A13A-B22227A05AA3}"/>
                </a:ext>
              </a:extLst>
            </p:cNvPr>
            <p:cNvCxnSpPr/>
            <p:nvPr/>
          </p:nvCxnSpPr>
          <p:spPr>
            <a:xfrm flipH="1" flipV="1">
              <a:off x="3592681" y="1460250"/>
              <a:ext cx="239054" cy="220268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77D5BC8-2DC3-6247-B952-B8FB77244C90}"/>
                </a:ext>
              </a:extLst>
            </p:cNvPr>
            <p:cNvCxnSpPr/>
            <p:nvPr/>
          </p:nvCxnSpPr>
          <p:spPr>
            <a:xfrm flipH="1">
              <a:off x="2901397" y="1463917"/>
              <a:ext cx="691284" cy="0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9996BF4-02B2-BD44-A4E1-EE65394AD0A0}"/>
              </a:ext>
            </a:extLst>
          </p:cNvPr>
          <p:cNvSpPr txBox="1">
            <a:spLocks/>
          </p:cNvSpPr>
          <p:nvPr/>
        </p:nvSpPr>
        <p:spPr>
          <a:xfrm>
            <a:off x="3144409" y="5918522"/>
            <a:ext cx="492122" cy="215444"/>
          </a:xfrm>
          <a:prstGeom prst="rect">
            <a:avLst/>
          </a:prstGeom>
          <a:effectLst/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400" b="0" dirty="0">
                <a:solidFill>
                  <a:srgbClr val="509AAF"/>
                </a:solidFill>
                <a:latin typeface="IBM Plex Sans" panose="020B0503050203000203" pitchFamily="34" charset="0"/>
              </a:rPr>
              <a:t>100%</a:t>
            </a:r>
          </a:p>
        </p:txBody>
      </p:sp>
      <p:grpSp>
        <p:nvGrpSpPr>
          <p:cNvPr id="49" name="Group 73">
            <a:extLst>
              <a:ext uri="{FF2B5EF4-FFF2-40B4-BE49-F238E27FC236}">
                <a16:creationId xmlns:a16="http://schemas.microsoft.com/office/drawing/2014/main" id="{629BFAB7-03FC-0E4C-A2BD-DDB1FE538C67}"/>
              </a:ext>
            </a:extLst>
          </p:cNvPr>
          <p:cNvGrpSpPr/>
          <p:nvPr/>
        </p:nvGrpSpPr>
        <p:grpSpPr>
          <a:xfrm>
            <a:off x="954977" y="2146725"/>
            <a:ext cx="920337" cy="257799"/>
            <a:chOff x="2901397" y="1460250"/>
            <a:chExt cx="930338" cy="220268"/>
          </a:xfrm>
          <a:effectLst/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B9C95A2F-1853-E54D-8CF2-1733CB4B7E78}"/>
                </a:ext>
              </a:extLst>
            </p:cNvPr>
            <p:cNvCxnSpPr/>
            <p:nvPr/>
          </p:nvCxnSpPr>
          <p:spPr>
            <a:xfrm flipH="1" flipV="1">
              <a:off x="3592681" y="1460250"/>
              <a:ext cx="239054" cy="220268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A79D5E74-D659-7742-9ED4-CE0E73FF65F3}"/>
                </a:ext>
              </a:extLst>
            </p:cNvPr>
            <p:cNvCxnSpPr/>
            <p:nvPr/>
          </p:nvCxnSpPr>
          <p:spPr>
            <a:xfrm flipH="1">
              <a:off x="2901397" y="1463917"/>
              <a:ext cx="691284" cy="0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12D512C4-5792-8848-B736-C7B07F94D734}"/>
              </a:ext>
            </a:extLst>
          </p:cNvPr>
          <p:cNvSpPr txBox="1">
            <a:spLocks/>
          </p:cNvSpPr>
          <p:nvPr/>
        </p:nvSpPr>
        <p:spPr>
          <a:xfrm>
            <a:off x="1120353" y="1857597"/>
            <a:ext cx="384721" cy="215444"/>
          </a:xfrm>
          <a:prstGeom prst="rect">
            <a:avLst/>
          </a:prstGeom>
          <a:effectLst/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400" b="0" dirty="0">
                <a:solidFill>
                  <a:srgbClr val="509AAF"/>
                </a:solidFill>
                <a:latin typeface="IBM Plex Sans" panose="020B0503050203000203" pitchFamily="34" charset="0"/>
              </a:rPr>
              <a:t>20%</a:t>
            </a:r>
          </a:p>
        </p:txBody>
      </p:sp>
      <p:grpSp>
        <p:nvGrpSpPr>
          <p:cNvPr id="53" name="Group 74">
            <a:extLst>
              <a:ext uri="{FF2B5EF4-FFF2-40B4-BE49-F238E27FC236}">
                <a16:creationId xmlns:a16="http://schemas.microsoft.com/office/drawing/2014/main" id="{70B09488-FE1D-5B49-9A85-673E66D8AD68}"/>
              </a:ext>
            </a:extLst>
          </p:cNvPr>
          <p:cNvGrpSpPr/>
          <p:nvPr/>
        </p:nvGrpSpPr>
        <p:grpSpPr>
          <a:xfrm flipH="1">
            <a:off x="3009912" y="2144082"/>
            <a:ext cx="920337" cy="262165"/>
            <a:chOff x="2901397" y="1460250"/>
            <a:chExt cx="930338" cy="220268"/>
          </a:xfrm>
          <a:effectLst/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B32B271-FE80-5940-AEBA-81FD3620ED61}"/>
                </a:ext>
              </a:extLst>
            </p:cNvPr>
            <p:cNvCxnSpPr/>
            <p:nvPr/>
          </p:nvCxnSpPr>
          <p:spPr>
            <a:xfrm flipH="1" flipV="1">
              <a:off x="3592681" y="1460250"/>
              <a:ext cx="239054" cy="220268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6FFB3B5-ED35-AB42-B7A0-8EBBF0B555CC}"/>
                </a:ext>
              </a:extLst>
            </p:cNvPr>
            <p:cNvCxnSpPr/>
            <p:nvPr/>
          </p:nvCxnSpPr>
          <p:spPr>
            <a:xfrm flipH="1">
              <a:off x="2901397" y="1463918"/>
              <a:ext cx="691284" cy="0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3F9B38DA-BA2F-0047-BECD-DB14E60EBF9E}"/>
              </a:ext>
            </a:extLst>
          </p:cNvPr>
          <p:cNvSpPr txBox="1">
            <a:spLocks/>
          </p:cNvSpPr>
          <p:nvPr/>
        </p:nvSpPr>
        <p:spPr>
          <a:xfrm>
            <a:off x="3410386" y="1857597"/>
            <a:ext cx="384721" cy="215444"/>
          </a:xfrm>
          <a:prstGeom prst="rect">
            <a:avLst/>
          </a:prstGeom>
          <a:effectLst/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400" b="0" dirty="0">
                <a:solidFill>
                  <a:srgbClr val="509AAF"/>
                </a:solidFill>
                <a:latin typeface="IBM Plex Sans" panose="020B0503050203000203" pitchFamily="34" charset="0"/>
              </a:rPr>
              <a:t>50%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3C565A9-F2C6-4FFF-B526-26BE3455B8EF}"/>
              </a:ext>
            </a:extLst>
          </p:cNvPr>
          <p:cNvGrpSpPr/>
          <p:nvPr/>
        </p:nvGrpSpPr>
        <p:grpSpPr>
          <a:xfrm>
            <a:off x="4972415" y="1520825"/>
            <a:ext cx="4517661" cy="4764085"/>
            <a:chOff x="5202753" y="2183570"/>
            <a:chExt cx="3202931" cy="3377641"/>
          </a:xfrm>
        </p:grpSpPr>
        <p:sp>
          <p:nvSpPr>
            <p:cNvPr id="37" name="Rectangle: Rounded Corners 311">
              <a:extLst>
                <a:ext uri="{FF2B5EF4-FFF2-40B4-BE49-F238E27FC236}">
                  <a16:creationId xmlns:a16="http://schemas.microsoft.com/office/drawing/2014/main" id="{8D807034-A4EC-D940-B474-2700731F91F6}"/>
                </a:ext>
              </a:extLst>
            </p:cNvPr>
            <p:cNvSpPr/>
            <p:nvPr/>
          </p:nvSpPr>
          <p:spPr bwMode="auto">
            <a:xfrm>
              <a:off x="5649162" y="4657900"/>
              <a:ext cx="2756522" cy="9033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82800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r>
                <a:rPr lang="en-US" sz="1400">
                  <a:solidFill>
                    <a:srgbClr val="509AAF"/>
                  </a:solidFill>
                  <a:latin typeface="IBM Plex Sans" panose="020B0503050203000203" pitchFamily="34" charset="0"/>
                </a:rPr>
                <a:t>Lorem ipsum</a:t>
              </a:r>
              <a:endParaRPr lang="en-US" sz="1400" dirty="0">
                <a:solidFill>
                  <a:srgbClr val="509AAF"/>
                </a:solidFill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: Rounded Corners 310">
              <a:extLst>
                <a:ext uri="{FF2B5EF4-FFF2-40B4-BE49-F238E27FC236}">
                  <a16:creationId xmlns:a16="http://schemas.microsoft.com/office/drawing/2014/main" id="{746CFA02-3F13-1640-AF12-5B478657A7A3}"/>
                </a:ext>
              </a:extLst>
            </p:cNvPr>
            <p:cNvSpPr/>
            <p:nvPr/>
          </p:nvSpPr>
          <p:spPr bwMode="auto">
            <a:xfrm>
              <a:off x="5649162" y="3420735"/>
              <a:ext cx="2756522" cy="9033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82800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r>
                <a:rPr lang="en-US" sz="1400">
                  <a:solidFill>
                    <a:srgbClr val="509AAF"/>
                  </a:solidFill>
                  <a:latin typeface="IBM Plex Sans" panose="020B0503050203000203" pitchFamily="34" charset="0"/>
                </a:rPr>
                <a:t>Lorem ipsum</a:t>
              </a:r>
              <a:endParaRPr lang="en-US" sz="1400" dirty="0">
                <a:solidFill>
                  <a:srgbClr val="509AAF"/>
                </a:solidFill>
                <a:latin typeface="IBM Plex Sans" panose="020B0503050203000203" pitchFamily="34" charset="0"/>
              </a:endParaRPr>
            </a:p>
          </p:txBody>
        </p:sp>
        <p:sp>
          <p:nvSpPr>
            <p:cNvPr id="39" name="Rectangle: Rounded Corners 303">
              <a:extLst>
                <a:ext uri="{FF2B5EF4-FFF2-40B4-BE49-F238E27FC236}">
                  <a16:creationId xmlns:a16="http://schemas.microsoft.com/office/drawing/2014/main" id="{A682DA0B-1C06-044E-9253-79BD7421FC4D}"/>
                </a:ext>
              </a:extLst>
            </p:cNvPr>
            <p:cNvSpPr/>
            <p:nvPr/>
          </p:nvSpPr>
          <p:spPr bwMode="auto">
            <a:xfrm>
              <a:off x="5649162" y="2183570"/>
              <a:ext cx="2756522" cy="9033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82800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r>
                <a:rPr lang="en-US" sz="1400">
                  <a:solidFill>
                    <a:srgbClr val="509AAF"/>
                  </a:solidFill>
                  <a:latin typeface="IBM Plex Sans" panose="020B0503050203000203" pitchFamily="34" charset="0"/>
                </a:rPr>
                <a:t>Lorem ipsum</a:t>
              </a:r>
              <a:endParaRPr lang="en-US" sz="1400" dirty="0">
                <a:solidFill>
                  <a:srgbClr val="509AAF"/>
                </a:solidFill>
                <a:latin typeface="IBM Plex Sans" panose="020B0503050203000203" pitchFamily="34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407975B-E82D-2B40-882E-E24441007B7A}"/>
                </a:ext>
              </a:extLst>
            </p:cNvPr>
            <p:cNvSpPr/>
            <p:nvPr/>
          </p:nvSpPr>
          <p:spPr>
            <a:xfrm>
              <a:off x="5202753" y="2183570"/>
              <a:ext cx="906658" cy="90331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rgbClr val="262626"/>
                </a:solidFill>
                <a:latin typeface="+mj-lt"/>
              </a:endParaRPr>
            </a:p>
          </p:txBody>
        </p:sp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5A703E02-9EAF-664C-A3DA-214F0103D2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70332" y="2349475"/>
              <a:ext cx="571500" cy="571500"/>
            </a:xfrm>
            <a:prstGeom prst="rect">
              <a:avLst/>
            </a:prstGeom>
          </p:spPr>
        </p:pic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83060E8E-94B2-EE4D-826C-C445C5E2CAFB}"/>
                </a:ext>
              </a:extLst>
            </p:cNvPr>
            <p:cNvSpPr/>
            <p:nvPr/>
          </p:nvSpPr>
          <p:spPr>
            <a:xfrm>
              <a:off x="5202753" y="4657900"/>
              <a:ext cx="906658" cy="9033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rgbClr val="262626"/>
                </a:solidFill>
                <a:latin typeface="+mj-lt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F4AAA412-DD48-C24E-A356-BBC0669F9F9B}"/>
                </a:ext>
              </a:extLst>
            </p:cNvPr>
            <p:cNvSpPr/>
            <p:nvPr/>
          </p:nvSpPr>
          <p:spPr>
            <a:xfrm>
              <a:off x="5202753" y="3420735"/>
              <a:ext cx="906658" cy="903311"/>
            </a:xfrm>
            <a:prstGeom prst="ellipse">
              <a:avLst/>
            </a:prstGeom>
            <a:solidFill>
              <a:srgbClr val="7DD8C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rgbClr val="262626"/>
                </a:solidFill>
                <a:latin typeface="+mj-lt"/>
              </a:endParaRPr>
            </a:p>
          </p:txBody>
        </p:sp>
        <p:pic>
          <p:nvPicPr>
            <p:cNvPr id="60" name="Graphic 59">
              <a:extLst>
                <a:ext uri="{FF2B5EF4-FFF2-40B4-BE49-F238E27FC236}">
                  <a16:creationId xmlns:a16="http://schemas.microsoft.com/office/drawing/2014/main" id="{3F981FBE-908D-8145-ADB1-731962FFA3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370332" y="3586640"/>
              <a:ext cx="571500" cy="571500"/>
            </a:xfrm>
            <a:prstGeom prst="rect">
              <a:avLst/>
            </a:prstGeom>
          </p:spPr>
        </p:pic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A4BCC25A-88F6-E84C-9FD6-6A343EE76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370332" y="4823805"/>
              <a:ext cx="571500" cy="571500"/>
            </a:xfrm>
            <a:prstGeom prst="rect">
              <a:avLst/>
            </a:prstGeom>
          </p:spPr>
        </p:pic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729C9D-8D5A-4251-8077-65236C789990}"/>
              </a:ext>
            </a:extLst>
          </p:cNvPr>
          <p:cNvCxnSpPr>
            <a:cxnSpLocks/>
          </p:cNvCxnSpPr>
          <p:nvPr/>
        </p:nvCxnSpPr>
        <p:spPr bwMode="auto">
          <a:xfrm>
            <a:off x="4443984" y="1520825"/>
            <a:ext cx="0" cy="476408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D0FED161-C8CE-4D67-85E7-94BC1C5D6D77}"/>
              </a:ext>
            </a:extLst>
          </p:cNvPr>
          <p:cNvSpPr/>
          <p:nvPr/>
        </p:nvSpPr>
        <p:spPr bwMode="auto">
          <a:xfrm rot="5400000">
            <a:off x="4306074" y="3745247"/>
            <a:ext cx="591061" cy="315241"/>
          </a:xfrm>
          <a:prstGeom prst="triangle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5303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727833-22F8-44B1-8355-3F6C73315F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961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7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93FC9D86-0993-4648-8C51-302DF4BAEED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4D37667-BD86-4248-95C6-5E9E801ED0C9}"/>
              </a:ext>
            </a:extLst>
          </p:cNvPr>
          <p:cNvSpPr/>
          <p:nvPr/>
        </p:nvSpPr>
        <p:spPr bwMode="auto">
          <a:xfrm>
            <a:off x="1" y="-1"/>
            <a:ext cx="9906000" cy="6858001"/>
          </a:xfrm>
          <a:prstGeom prst="rect">
            <a:avLst/>
          </a:prstGeom>
          <a:gradFill>
            <a:gsLst>
              <a:gs pos="100000">
                <a:srgbClr val="509AAF">
                  <a:alpha val="80000"/>
                </a:srgbClr>
              </a:gs>
              <a:gs pos="18000">
                <a:srgbClr val="612C83">
                  <a:alpha val="95000"/>
                </a:srgbClr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58AD931-C01F-874E-800C-79E2C5614864}"/>
              </a:ext>
            </a:extLst>
          </p:cNvPr>
          <p:cNvSpPr txBox="1"/>
          <p:nvPr/>
        </p:nvSpPr>
        <p:spPr>
          <a:xfrm>
            <a:off x="7471681" y="227576"/>
            <a:ext cx="2016595" cy="374571"/>
          </a:xfrm>
          <a:prstGeom prst="roundRect">
            <a:avLst/>
          </a:prstGeom>
          <a:noFill/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  <p:sp>
        <p:nvSpPr>
          <p:cNvPr id="8" name="Rectangle: Rounded Corners 47">
            <a:extLst>
              <a:ext uri="{FF2B5EF4-FFF2-40B4-BE49-F238E27FC236}">
                <a16:creationId xmlns:a16="http://schemas.microsoft.com/office/drawing/2014/main" id="{5061BC5B-38BA-A041-BB3D-7E16CA46A7C4}"/>
              </a:ext>
            </a:extLst>
          </p:cNvPr>
          <p:cNvSpPr/>
          <p:nvPr/>
        </p:nvSpPr>
        <p:spPr bwMode="auto">
          <a:xfrm>
            <a:off x="417513" y="4039790"/>
            <a:ext cx="547016" cy="204311"/>
          </a:xfrm>
          <a:prstGeom prst="roundRect">
            <a:avLst/>
          </a:prstGeom>
          <a:solidFill>
            <a:srgbClr val="F5FFC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l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A29910-A5DB-AB4A-869D-0F9053B129B0}"/>
              </a:ext>
            </a:extLst>
          </p:cNvPr>
          <p:cNvSpPr txBox="1"/>
          <p:nvPr/>
        </p:nvSpPr>
        <p:spPr>
          <a:xfrm>
            <a:off x="417513" y="4350721"/>
            <a:ext cx="7672387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With           from Boston</a:t>
            </a:r>
            <a:endParaRPr lang="en-US" sz="3600" dirty="0">
              <a:solidFill>
                <a:srgbClr val="F5FFC3"/>
              </a:solidFill>
              <a:latin typeface="IBM Plex Sans SemiBold" panose="020B0703050203000203" pitchFamily="34" charset="0"/>
              <a:cs typeface="Poppins Black" panose="00000A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D7DDACF-EF37-1242-B5C1-801446DAAE2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10005" y="4178300"/>
            <a:ext cx="974725" cy="97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58046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76482F94-6B90-4F38-BC75-B48A433CE8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2310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6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FE86EF-3F3A-8D49-8900-7E36D95524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9072562" cy="539750"/>
          </a:xfrm>
        </p:spPr>
        <p:txBody>
          <a:bodyPr vert="horz">
            <a:normAutofit/>
          </a:bodyPr>
          <a:lstStyle/>
          <a:p>
            <a:r>
              <a:rPr lang="en-US" dirty="0"/>
              <a:t>Title goes here in IBM </a:t>
            </a:r>
            <a:r>
              <a:rPr lang="en-US" dirty="0" err="1"/>
              <a:t>SemiBold</a:t>
            </a:r>
            <a:r>
              <a:rPr lang="en-US" dirty="0"/>
              <a:t> </a:t>
            </a:r>
            <a:r>
              <a:rPr lang="en-US"/>
              <a:t>size 24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DC2D31-9264-B441-8131-B0E886F40F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</p:spPr>
        <p:txBody>
          <a:bodyPr/>
          <a:lstStyle/>
          <a:p>
            <a:fld id="{66AFC10B-F707-4E2E-A165-AA17571AEF0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31A60A-7068-7D43-A743-240A645E26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7275" y="6593488"/>
            <a:ext cx="3142800" cy="136800"/>
          </a:xfrm>
        </p:spPr>
        <p:txBody>
          <a:bodyPr/>
          <a:lstStyle/>
          <a:p>
            <a:r>
              <a:rPr lang="en-US" dirty="0"/>
              <a:t>Footer goes here in IBM Plex Sans size 9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C04C0A-58F8-1945-884D-32B508BC672B}"/>
              </a:ext>
            </a:extLst>
          </p:cNvPr>
          <p:cNvSpPr/>
          <p:nvPr/>
        </p:nvSpPr>
        <p:spPr bwMode="auto">
          <a:xfrm>
            <a:off x="417513" y="1524000"/>
            <a:ext cx="9072562" cy="476250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>
            <a:noAutofit/>
          </a:bodyPr>
          <a:lstStyle/>
          <a:p>
            <a:r>
              <a:rPr lang="en-US" sz="1600" b="1">
                <a:solidFill>
                  <a:srgbClr val="FF0000"/>
                </a:solidFill>
                <a:latin typeface="IBM Plex Sans" panose="020B0503050203000203" pitchFamily="34" charset="0"/>
              </a:rPr>
              <a:t>This is the slide frame. </a:t>
            </a:r>
          </a:p>
          <a:p>
            <a:r>
              <a:rPr lang="en-US" sz="1600" b="1">
                <a:solidFill>
                  <a:srgbClr val="FF0000"/>
                </a:solidFill>
                <a:latin typeface="IBM Plex Sans" panose="020B0503050203000203" pitchFamily="34" charset="0"/>
              </a:rPr>
              <a:t>Content of a slide should fill this </a:t>
            </a:r>
            <a:br>
              <a:rPr lang="en-US" sz="1600" b="1">
                <a:solidFill>
                  <a:srgbClr val="FF0000"/>
                </a:solidFill>
                <a:latin typeface="IBM Plex Sans" panose="020B0503050203000203" pitchFamily="34" charset="0"/>
              </a:rPr>
            </a:br>
            <a:r>
              <a:rPr lang="en-US" sz="1600" b="1">
                <a:solidFill>
                  <a:srgbClr val="FF0000"/>
                </a:solidFill>
                <a:latin typeface="IBM Plex Sans" panose="020B0503050203000203" pitchFamily="34" charset="0"/>
              </a:rPr>
              <a:t>and be fitted to the edge of the rectangle perfectly</a:t>
            </a:r>
            <a:endParaRPr lang="en-US" sz="1600" b="1" dirty="0">
              <a:solidFill>
                <a:srgbClr val="FF0000"/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Isosceles Triangle 12">
            <a:extLst>
              <a:ext uri="{FF2B5EF4-FFF2-40B4-BE49-F238E27FC236}">
                <a16:creationId xmlns:a16="http://schemas.microsoft.com/office/drawing/2014/main" id="{D148EA11-D1FB-8E44-9D91-E99CD0829A69}"/>
              </a:ext>
            </a:extLst>
          </p:cNvPr>
          <p:cNvSpPr/>
          <p:nvPr/>
        </p:nvSpPr>
        <p:spPr bwMode="auto">
          <a:xfrm rot="16200000">
            <a:off x="384915" y="3494690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666CD603-76D5-E14D-903F-47711A1B2820}"/>
              </a:ext>
            </a:extLst>
          </p:cNvPr>
          <p:cNvSpPr/>
          <p:nvPr/>
        </p:nvSpPr>
        <p:spPr bwMode="auto">
          <a:xfrm rot="5400000">
            <a:off x="8603264" y="3494690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8" name="Isosceles Triangle 14">
            <a:extLst>
              <a:ext uri="{FF2B5EF4-FFF2-40B4-BE49-F238E27FC236}">
                <a16:creationId xmlns:a16="http://schemas.microsoft.com/office/drawing/2014/main" id="{E986A6B6-4996-974E-8CA1-3896FF5E4E92}"/>
              </a:ext>
            </a:extLst>
          </p:cNvPr>
          <p:cNvSpPr/>
          <p:nvPr/>
        </p:nvSpPr>
        <p:spPr bwMode="auto">
          <a:xfrm rot="10800000">
            <a:off x="4477545" y="5462713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9" name="Isosceles Triangle 15">
            <a:extLst>
              <a:ext uri="{FF2B5EF4-FFF2-40B4-BE49-F238E27FC236}">
                <a16:creationId xmlns:a16="http://schemas.microsoft.com/office/drawing/2014/main" id="{3F63BBBB-7E8E-5243-8F72-D717FCA6AD40}"/>
              </a:ext>
            </a:extLst>
          </p:cNvPr>
          <p:cNvSpPr/>
          <p:nvPr/>
        </p:nvSpPr>
        <p:spPr bwMode="auto">
          <a:xfrm>
            <a:off x="4477545" y="1524000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81F7FD-4F5D-BC43-84D8-64E93A786175}"/>
              </a:ext>
            </a:extLst>
          </p:cNvPr>
          <p:cNvSpPr txBox="1"/>
          <p:nvPr/>
        </p:nvSpPr>
        <p:spPr>
          <a:xfrm>
            <a:off x="1271726" y="3766751"/>
            <a:ext cx="914400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b="1">
                <a:solidFill>
                  <a:srgbClr val="FF0000"/>
                </a:solidFill>
                <a:latin typeface="IBM Plex Sans" panose="020B0503050203000203" pitchFamily="34" charset="0"/>
              </a:rPr>
              <a:t>4.96in</a:t>
            </a:r>
            <a:endParaRPr lang="en-US" b="1" dirty="0">
              <a:solidFill>
                <a:srgbClr val="FF0000"/>
              </a:solidFill>
              <a:latin typeface="IBM Plex Sans" panose="020B050305020300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B5398D-7FE2-DA4A-9049-74377F19CDE2}"/>
              </a:ext>
            </a:extLst>
          </p:cNvPr>
          <p:cNvSpPr txBox="1"/>
          <p:nvPr/>
        </p:nvSpPr>
        <p:spPr>
          <a:xfrm>
            <a:off x="7774873" y="3766751"/>
            <a:ext cx="914400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b="1">
                <a:solidFill>
                  <a:srgbClr val="FF0000"/>
                </a:solidFill>
                <a:latin typeface="IBM Plex Sans" panose="020B0503050203000203" pitchFamily="34" charset="0"/>
              </a:rPr>
              <a:t>4.96in</a:t>
            </a:r>
            <a:endParaRPr lang="en-US" b="1" dirty="0">
              <a:solidFill>
                <a:srgbClr val="FF0000"/>
              </a:solidFill>
              <a:latin typeface="IBM Plex Sans" panose="020B050305020300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D31112-2C67-F944-9026-3CD656F59E15}"/>
              </a:ext>
            </a:extLst>
          </p:cNvPr>
          <p:cNvSpPr txBox="1"/>
          <p:nvPr/>
        </p:nvSpPr>
        <p:spPr>
          <a:xfrm>
            <a:off x="4496594" y="4995998"/>
            <a:ext cx="914400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b="1">
                <a:solidFill>
                  <a:srgbClr val="FF0000"/>
                </a:solidFill>
                <a:latin typeface="IBM Plex Sans" panose="020B0503050203000203" pitchFamily="34" charset="0"/>
              </a:rPr>
              <a:t>3.13in</a:t>
            </a:r>
            <a:endParaRPr lang="en-US" b="1" dirty="0">
              <a:solidFill>
                <a:srgbClr val="FF0000"/>
              </a:solidFill>
              <a:latin typeface="IBM Plex Sans" panose="020B050305020300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1B120E-D370-654C-9373-BECD63667BF5}"/>
              </a:ext>
            </a:extLst>
          </p:cNvPr>
          <p:cNvSpPr txBox="1"/>
          <p:nvPr/>
        </p:nvSpPr>
        <p:spPr>
          <a:xfrm>
            <a:off x="4496594" y="2405393"/>
            <a:ext cx="914400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b="1">
                <a:solidFill>
                  <a:srgbClr val="FF0000"/>
                </a:solidFill>
                <a:latin typeface="IBM Plex Sans" panose="020B0503050203000203" pitchFamily="34" charset="0"/>
              </a:rPr>
              <a:t>2.08in</a:t>
            </a:r>
            <a:endParaRPr lang="en-US" b="1" dirty="0">
              <a:solidFill>
                <a:srgbClr val="FF0000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670999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81067EB2-F2CB-4859-BA78-2276AFF6BA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9394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3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: Rounded Corners 10">
            <a:extLst>
              <a:ext uri="{FF2B5EF4-FFF2-40B4-BE49-F238E27FC236}">
                <a16:creationId xmlns:a16="http://schemas.microsoft.com/office/drawing/2014/main" id="{3179336D-A489-4DA2-8366-B6C1E77A27FA}"/>
              </a:ext>
            </a:extLst>
          </p:cNvPr>
          <p:cNvSpPr/>
          <p:nvPr/>
        </p:nvSpPr>
        <p:spPr bwMode="auto">
          <a:xfrm>
            <a:off x="5204620" y="1977100"/>
            <a:ext cx="4284664" cy="23448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endParaRPr lang="en-US" sz="1400" dirty="0">
              <a:solidFill>
                <a:srgbClr val="509AAF"/>
              </a:solidFill>
              <a:latin typeface="IBM Plex Sans" panose="020B050305020300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072894-3AF9-244D-AFBA-E34B8DE97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9072562" cy="539750"/>
          </a:xfrm>
        </p:spPr>
        <p:txBody>
          <a:bodyPr vert="horz"/>
          <a:lstStyle/>
          <a:p>
            <a:r>
              <a:rPr lang="en-US"/>
              <a:t>Text boxes settings, font types and bullet points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3B3B05-68B5-F347-B773-97373847C9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</p:spPr>
        <p:txBody>
          <a:bodyPr/>
          <a:lstStyle/>
          <a:p>
            <a:fld id="{66AFC10B-F707-4E2E-A165-AA17571AEF0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5E218A5-0709-4CC8-8F78-16EB656E9B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D2F0C4B-E55E-4082-B8D0-24463810E511}"/>
              </a:ext>
            </a:extLst>
          </p:cNvPr>
          <p:cNvGrpSpPr/>
          <p:nvPr/>
        </p:nvGrpSpPr>
        <p:grpSpPr>
          <a:xfrm>
            <a:off x="416718" y="1524000"/>
            <a:ext cx="4284664" cy="2797965"/>
            <a:chOff x="5205411" y="1524000"/>
            <a:chExt cx="4284664" cy="2797965"/>
          </a:xfrm>
        </p:grpSpPr>
        <p:sp>
          <p:nvSpPr>
            <p:cNvPr id="6" name="Rectangle: Rounded Corners 10">
              <a:extLst>
                <a:ext uri="{FF2B5EF4-FFF2-40B4-BE49-F238E27FC236}">
                  <a16:creationId xmlns:a16="http://schemas.microsoft.com/office/drawing/2014/main" id="{7509E247-A139-E844-BAA5-47263C221F69}"/>
                </a:ext>
              </a:extLst>
            </p:cNvPr>
            <p:cNvSpPr/>
            <p:nvPr/>
          </p:nvSpPr>
          <p:spPr bwMode="auto">
            <a:xfrm>
              <a:off x="5205411" y="1985665"/>
              <a:ext cx="4284664" cy="23363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r>
                <a:rPr lang="en-US" sz="1400" dirty="0">
                  <a:solidFill>
                    <a:srgbClr val="509AAF"/>
                  </a:solidFill>
                  <a:latin typeface="IBM Plex Sans" panose="020B0503050203000203" pitchFamily="34" charset="0"/>
                  <a:cs typeface="Poppins Medium" panose="00000600000000000000" pitchFamily="2" charset="0"/>
                </a:rPr>
                <a:t>All body text is IBM Plex Sans and </a:t>
              </a:r>
              <a:r>
                <a:rPr lang="en-US" sz="1400" dirty="0">
                  <a:latin typeface="IBM Plex Sans" panose="020B0503050203000203" pitchFamily="34" charset="0"/>
                  <a:cs typeface="Poppins Medium" panose="00000600000000000000" pitchFamily="2" charset="0"/>
                </a:rPr>
                <a:t>color Aqua (R:80, G:154, B:175)</a:t>
              </a:r>
              <a:r>
                <a:rPr lang="en-US" sz="1400" dirty="0">
                  <a:solidFill>
                    <a:srgbClr val="509AAF"/>
                  </a:solidFill>
                  <a:latin typeface="IBM Plex Sans" panose="020B0503050203000203" pitchFamily="34" charset="0"/>
                  <a:cs typeface="Poppins Medium" panose="00000600000000000000" pitchFamily="2" charset="0"/>
                </a:rPr>
                <a:t>. </a:t>
              </a:r>
            </a:p>
            <a:p>
              <a:pPr algn="l">
                <a:spcBef>
                  <a:spcPts val="600"/>
                </a:spcBef>
              </a:pPr>
              <a:r>
                <a:rPr lang="en-US" sz="1400" dirty="0">
                  <a:solidFill>
                    <a:srgbClr val="509AAF"/>
                  </a:solidFill>
                  <a:latin typeface="IBM Plex Sans" panose="020B0503050203000203" pitchFamily="34" charset="0"/>
                </a:rPr>
                <a:t>This is </a:t>
              </a:r>
              <a:r>
                <a:rPr lang="en-US" sz="1400" b="1" dirty="0">
                  <a:solidFill>
                    <a:schemeClr val="accent1"/>
                  </a:solidFill>
                  <a:latin typeface="IBM Plex Sans" panose="020B0503050203000203" pitchFamily="34" charset="0"/>
                </a:rPr>
                <a:t>highlighted text. </a:t>
              </a:r>
            </a:p>
            <a:p>
              <a:pPr algn="l">
                <a:spcBef>
                  <a:spcPts val="600"/>
                </a:spcBef>
              </a:pPr>
              <a:r>
                <a:rPr lang="en-US" sz="1400" dirty="0">
                  <a:latin typeface="IBM Plex Sans" panose="020B0503050203000203" pitchFamily="34" charset="0"/>
                </a:rPr>
                <a:t>Use only 1 font size per slide (maximum 2 as an exception. </a:t>
              </a:r>
            </a:p>
          </p:txBody>
        </p:sp>
        <p:sp>
          <p:nvSpPr>
            <p:cNvPr id="13" name="Rectangle: Rounded Corners 2">
              <a:extLst>
                <a:ext uri="{FF2B5EF4-FFF2-40B4-BE49-F238E27FC236}">
                  <a16:creationId xmlns:a16="http://schemas.microsoft.com/office/drawing/2014/main" id="{8BA8FA5D-24FC-40E0-81FE-9242E2E57F14}"/>
                </a:ext>
              </a:extLst>
            </p:cNvPr>
            <p:cNvSpPr/>
            <p:nvPr/>
          </p:nvSpPr>
          <p:spPr bwMode="auto">
            <a:xfrm>
              <a:off x="5205411" y="1524000"/>
              <a:ext cx="4283075" cy="461665"/>
            </a:xfrm>
            <a:prstGeom prst="round2SameRect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90000" tIns="90000" rIns="90000" bIns="90000" rtlCol="0" anchor="ctr">
              <a:noAutofit/>
            </a:bodyPr>
            <a:lstStyle/>
            <a:p>
              <a:r>
                <a:rPr lang="en-US" sz="1400" b="1">
                  <a:solidFill>
                    <a:schemeClr val="bg1"/>
                  </a:solidFill>
                  <a:latin typeface="IBM Plex Sans" panose="020B0503050203000203" pitchFamily="34" charset="0"/>
                  <a:cs typeface="Arial" panose="020B0604020202020204" pitchFamily="34" charset="0"/>
                </a:rPr>
                <a:t>This is heading - IBM Plex Sans, Bold  </a:t>
              </a:r>
              <a:endParaRPr lang="en-US" sz="1400" b="1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Rectangle: Rounded Corners 2">
            <a:extLst>
              <a:ext uri="{FF2B5EF4-FFF2-40B4-BE49-F238E27FC236}">
                <a16:creationId xmlns:a16="http://schemas.microsoft.com/office/drawing/2014/main" id="{5A978618-A53A-44D3-B9E2-3328212C752A}"/>
              </a:ext>
            </a:extLst>
          </p:cNvPr>
          <p:cNvSpPr/>
          <p:nvPr/>
        </p:nvSpPr>
        <p:spPr bwMode="auto">
          <a:xfrm>
            <a:off x="5204620" y="1524000"/>
            <a:ext cx="4283075" cy="461665"/>
          </a:xfrm>
          <a:prstGeom prst="round2Same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90000" tIns="90000" rIns="90000" bIns="90000" rtlCol="0" anchor="ctr">
            <a:no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Text box setting </a:t>
            </a:r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41E941D-88C5-4517-A327-E6406E6388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5894" y="2105351"/>
            <a:ext cx="2702117" cy="2088362"/>
          </a:xfrm>
          <a:prstGeom prst="rect">
            <a:avLst/>
          </a:prstGeom>
        </p:spPr>
      </p:pic>
      <p:sp>
        <p:nvSpPr>
          <p:cNvPr id="18" name="Rectangle: Rounded Corners 10">
            <a:extLst>
              <a:ext uri="{FF2B5EF4-FFF2-40B4-BE49-F238E27FC236}">
                <a16:creationId xmlns:a16="http://schemas.microsoft.com/office/drawing/2014/main" id="{915726CF-B353-4C91-9C13-0502B5E89D07}"/>
              </a:ext>
            </a:extLst>
          </p:cNvPr>
          <p:cNvSpPr/>
          <p:nvPr/>
        </p:nvSpPr>
        <p:spPr bwMode="auto">
          <a:xfrm>
            <a:off x="5207000" y="4854588"/>
            <a:ext cx="4284664" cy="143080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en-US" sz="1400">
                <a:solidFill>
                  <a:srgbClr val="509AAF"/>
                </a:solidFill>
                <a:latin typeface="IBM Plex Sans" panose="020B0503050203000203" pitchFamily="34" charset="0"/>
              </a:rPr>
              <a:t>Follow these settings for bullet points:</a:t>
            </a:r>
            <a:br>
              <a:rPr lang="en-US" sz="1400">
                <a:solidFill>
                  <a:srgbClr val="509AAF"/>
                </a:solidFill>
                <a:latin typeface="IBM Plex Sans" panose="020B0503050203000203" pitchFamily="34" charset="0"/>
              </a:rPr>
            </a:br>
            <a:r>
              <a:rPr lang="en-US" sz="1400">
                <a:solidFill>
                  <a:srgbClr val="509AAF"/>
                </a:solidFill>
                <a:latin typeface="IBM Plex Sans" panose="020B0503050203000203" pitchFamily="34" charset="0"/>
              </a:rPr>
              <a:t>Bullet point is round.  </a:t>
            </a:r>
          </a:p>
          <a:p>
            <a:pPr marL="180000" indent="-1800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509AAF"/>
                </a:solidFill>
                <a:latin typeface="IBM Plex Sans" panose="020B0503050203000203" pitchFamily="34" charset="0"/>
              </a:rPr>
              <a:t>1st level bullet point setting </a:t>
            </a:r>
          </a:p>
          <a:p>
            <a:pPr marL="360000" indent="-1800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509AAF"/>
                </a:solidFill>
                <a:latin typeface="IBM Plex Sans" panose="020B0503050203000203" pitchFamily="34" charset="0"/>
              </a:rPr>
              <a:t>2nd level bullet point setting </a:t>
            </a:r>
          </a:p>
          <a:p>
            <a:pPr marL="540000" indent="-1800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509AAF"/>
                </a:solidFill>
                <a:latin typeface="IBM Plex Sans" panose="020B0503050203000203" pitchFamily="34" charset="0"/>
              </a:rPr>
              <a:t>3rd level bullet point setting </a:t>
            </a:r>
            <a:endParaRPr lang="en-US" sz="1400" dirty="0">
              <a:solidFill>
                <a:srgbClr val="509AAF"/>
              </a:solidFill>
              <a:latin typeface="IBM Plex Sans" panose="020B0503050203000203" pitchFamily="34" charset="0"/>
            </a:endParaRPr>
          </a:p>
        </p:txBody>
      </p:sp>
      <p:sp>
        <p:nvSpPr>
          <p:cNvPr id="19" name="Rectangle: Rounded Corners 2">
            <a:extLst>
              <a:ext uri="{FF2B5EF4-FFF2-40B4-BE49-F238E27FC236}">
                <a16:creationId xmlns:a16="http://schemas.microsoft.com/office/drawing/2014/main" id="{C90B07BA-12C8-44D3-9DED-CB9C20D61104}"/>
              </a:ext>
            </a:extLst>
          </p:cNvPr>
          <p:cNvSpPr/>
          <p:nvPr/>
        </p:nvSpPr>
        <p:spPr bwMode="auto">
          <a:xfrm>
            <a:off x="5207000" y="4392923"/>
            <a:ext cx="4283075" cy="461665"/>
          </a:xfrm>
          <a:prstGeom prst="round2Same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90000" tIns="90000" rIns="90000" bIns="90000" rtlCol="0" anchor="ctr">
            <a:no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Bullet points settings</a:t>
            </a:r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: Rounded Corners 10">
            <a:extLst>
              <a:ext uri="{FF2B5EF4-FFF2-40B4-BE49-F238E27FC236}">
                <a16:creationId xmlns:a16="http://schemas.microsoft.com/office/drawing/2014/main" id="{9967F2F9-3C79-4677-89E1-AD3E00C9ACCA}"/>
              </a:ext>
            </a:extLst>
          </p:cNvPr>
          <p:cNvSpPr/>
          <p:nvPr/>
        </p:nvSpPr>
        <p:spPr bwMode="auto">
          <a:xfrm>
            <a:off x="414336" y="4854588"/>
            <a:ext cx="4284664" cy="143080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en-US" sz="1400" i="1">
                <a:solidFill>
                  <a:srgbClr val="509AAF"/>
                </a:solidFill>
                <a:latin typeface="IBM Plex Sans" panose="020B0503050203000203" pitchFamily="34" charset="0"/>
              </a:rPr>
              <a:t>"This is an example of somebody saying something smart. This is an example of somebody saying something smart. "</a:t>
            </a:r>
          </a:p>
          <a:p>
            <a:pPr algn="r">
              <a:spcBef>
                <a:spcPts val="600"/>
              </a:spcBef>
            </a:pPr>
            <a:r>
              <a:rPr lang="en-US" sz="1400" b="1">
                <a:solidFill>
                  <a:srgbClr val="509AAF"/>
                </a:solidFill>
                <a:latin typeface="IBM Plex Sans" panose="020B0503050203000203" pitchFamily="34" charset="0"/>
              </a:rPr>
              <a:t>Person who said the quote</a:t>
            </a:r>
            <a:endParaRPr lang="en-US" sz="1400" b="1" dirty="0">
              <a:solidFill>
                <a:srgbClr val="509AAF"/>
              </a:solidFill>
              <a:latin typeface="IBM Plex Sans" panose="020B0503050203000203" pitchFamily="34" charset="0"/>
            </a:endParaRPr>
          </a:p>
        </p:txBody>
      </p:sp>
      <p:sp>
        <p:nvSpPr>
          <p:cNvPr id="31" name="Rectangle: Rounded Corners 2">
            <a:extLst>
              <a:ext uri="{FF2B5EF4-FFF2-40B4-BE49-F238E27FC236}">
                <a16:creationId xmlns:a16="http://schemas.microsoft.com/office/drawing/2014/main" id="{6EF1D36A-2A1D-420E-9090-6EEA0128BF9B}"/>
              </a:ext>
            </a:extLst>
          </p:cNvPr>
          <p:cNvSpPr/>
          <p:nvPr/>
        </p:nvSpPr>
        <p:spPr bwMode="auto">
          <a:xfrm>
            <a:off x="414336" y="4392923"/>
            <a:ext cx="4283075" cy="461665"/>
          </a:xfrm>
          <a:prstGeom prst="round2Same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90000" tIns="90000" rIns="90000" bIns="90000" rtlCol="0" anchor="ctr">
            <a:no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Quote example</a:t>
            </a:r>
            <a:endParaRPr lang="en-US" sz="1400" b="1" dirty="0">
              <a:solidFill>
                <a:schemeClr val="bg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972179E-60C4-4849-A4FA-19F292B84182}"/>
              </a:ext>
            </a:extLst>
          </p:cNvPr>
          <p:cNvSpPr/>
          <p:nvPr/>
        </p:nvSpPr>
        <p:spPr bwMode="auto">
          <a:xfrm>
            <a:off x="8564193" y="2885242"/>
            <a:ext cx="736847" cy="204186"/>
          </a:xfrm>
          <a:prstGeom prst="rect">
            <a:avLst/>
          </a:prstGeom>
          <a:solidFill>
            <a:srgbClr val="FFFF00"/>
          </a:solidFill>
          <a:ln w="12700">
            <a:noFill/>
            <a:round/>
            <a:headEnd/>
            <a:tailEnd/>
          </a:ln>
        </p:spPr>
        <p:txBody>
          <a:bodyPr wrap="square" lIns="90000" tIns="90000" rIns="90000" bIns="90000" rtlCol="0" anchor="ctr">
            <a:noAutofit/>
          </a:bodyPr>
          <a:lstStyle/>
          <a:p>
            <a:r>
              <a:rPr lang="en-US">
                <a:solidFill>
                  <a:schemeClr val="accent5"/>
                </a:solidFill>
                <a:latin typeface="IBM Plex Sans" panose="020B0503050203000203" pitchFamily="34" charset="0"/>
              </a:rPr>
              <a:t>0.1 inch</a:t>
            </a:r>
            <a:endParaRPr lang="en-US" dirty="0">
              <a:solidFill>
                <a:schemeClr val="accent5"/>
              </a:solidFill>
              <a:latin typeface="IBM Plex Sans" panose="020B0503050203000203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D97DBBE-B159-4241-AD68-EDCDEED812F4}"/>
              </a:ext>
            </a:extLst>
          </p:cNvPr>
          <p:cNvSpPr/>
          <p:nvPr/>
        </p:nvSpPr>
        <p:spPr bwMode="auto">
          <a:xfrm>
            <a:off x="8564193" y="3147882"/>
            <a:ext cx="736847" cy="204186"/>
          </a:xfrm>
          <a:prstGeom prst="rect">
            <a:avLst/>
          </a:prstGeom>
          <a:solidFill>
            <a:srgbClr val="FFFF00"/>
          </a:solidFill>
          <a:ln w="12700">
            <a:noFill/>
            <a:round/>
            <a:headEnd/>
            <a:tailEnd/>
          </a:ln>
        </p:spPr>
        <p:txBody>
          <a:bodyPr wrap="square" lIns="90000" tIns="90000" rIns="90000" bIns="90000" rtlCol="0" anchor="ctr">
            <a:noAutofit/>
          </a:bodyPr>
          <a:lstStyle/>
          <a:p>
            <a:r>
              <a:rPr lang="en-US">
                <a:solidFill>
                  <a:schemeClr val="accent5"/>
                </a:solidFill>
                <a:latin typeface="IBM Plex Sans" panose="020B0503050203000203" pitchFamily="34" charset="0"/>
              </a:rPr>
              <a:t>0.1 inch</a:t>
            </a:r>
            <a:endParaRPr lang="en-US" dirty="0">
              <a:solidFill>
                <a:schemeClr val="accent5"/>
              </a:solidFill>
              <a:latin typeface="IBM Plex Sans" panose="020B0503050203000203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A88C3AC-2052-4A73-BD5D-AA28327D9DAB}"/>
              </a:ext>
            </a:extLst>
          </p:cNvPr>
          <p:cNvSpPr/>
          <p:nvPr/>
        </p:nvSpPr>
        <p:spPr bwMode="auto">
          <a:xfrm>
            <a:off x="8564193" y="3410522"/>
            <a:ext cx="736847" cy="204186"/>
          </a:xfrm>
          <a:prstGeom prst="rect">
            <a:avLst/>
          </a:prstGeom>
          <a:solidFill>
            <a:srgbClr val="FFFF00"/>
          </a:solidFill>
          <a:ln w="12700">
            <a:noFill/>
            <a:round/>
            <a:headEnd/>
            <a:tailEnd/>
          </a:ln>
        </p:spPr>
        <p:txBody>
          <a:bodyPr wrap="square" lIns="90000" tIns="90000" rIns="90000" bIns="90000" rtlCol="0" anchor="ctr">
            <a:noAutofit/>
          </a:bodyPr>
          <a:lstStyle/>
          <a:p>
            <a:r>
              <a:rPr lang="en-US">
                <a:solidFill>
                  <a:schemeClr val="accent5"/>
                </a:solidFill>
                <a:latin typeface="IBM Plex Sans" panose="020B0503050203000203" pitchFamily="34" charset="0"/>
              </a:rPr>
              <a:t>0.1 inch</a:t>
            </a:r>
            <a:endParaRPr lang="en-US" dirty="0">
              <a:solidFill>
                <a:schemeClr val="accent5"/>
              </a:solidFill>
              <a:latin typeface="IBM Plex Sans" panose="020B050305020300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2AFF463-31ED-4DA8-8A9B-5FAB4C7E2EB0}"/>
              </a:ext>
            </a:extLst>
          </p:cNvPr>
          <p:cNvSpPr/>
          <p:nvPr/>
        </p:nvSpPr>
        <p:spPr bwMode="auto">
          <a:xfrm>
            <a:off x="8564193" y="3673162"/>
            <a:ext cx="736847" cy="204186"/>
          </a:xfrm>
          <a:prstGeom prst="rect">
            <a:avLst/>
          </a:prstGeom>
          <a:solidFill>
            <a:srgbClr val="FFFF00"/>
          </a:solidFill>
          <a:ln w="12700">
            <a:noFill/>
            <a:round/>
            <a:headEnd/>
            <a:tailEnd/>
          </a:ln>
        </p:spPr>
        <p:txBody>
          <a:bodyPr wrap="square" lIns="90000" tIns="90000" rIns="90000" bIns="90000" rtlCol="0" anchor="ctr">
            <a:noAutofit/>
          </a:bodyPr>
          <a:lstStyle/>
          <a:p>
            <a:r>
              <a:rPr lang="en-US">
                <a:solidFill>
                  <a:schemeClr val="accent5"/>
                </a:solidFill>
                <a:latin typeface="IBM Plex Sans" panose="020B0503050203000203" pitchFamily="34" charset="0"/>
              </a:rPr>
              <a:t>0.1 inch</a:t>
            </a:r>
            <a:endParaRPr lang="en-US" dirty="0">
              <a:solidFill>
                <a:schemeClr val="accent5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228426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0FD38290-C190-42F7-9747-AF96186F5C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288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0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6719C9-67C8-1B4F-ABED-1B5903F57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9072562" cy="539750"/>
          </a:xfrm>
        </p:spPr>
        <p:txBody>
          <a:bodyPr vert="horz">
            <a:normAutofit/>
          </a:bodyPr>
          <a:lstStyle/>
          <a:p>
            <a:r>
              <a:rPr lang="en-US"/>
              <a:t>Color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5C50C5-938E-0944-BBC7-3F7229446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</p:spPr>
        <p:txBody>
          <a:bodyPr/>
          <a:lstStyle/>
          <a:p>
            <a:fld id="{66AFC10B-F707-4E2E-A165-AA17571AEF0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FAEEA95-9DA8-497D-A4A0-C4CCADCAF5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: Rounded Corners 2">
            <a:extLst>
              <a:ext uri="{FF2B5EF4-FFF2-40B4-BE49-F238E27FC236}">
                <a16:creationId xmlns:a16="http://schemas.microsoft.com/office/drawing/2014/main" id="{87890163-97E4-2D45-80FD-8BD5CFA1DE40}"/>
              </a:ext>
            </a:extLst>
          </p:cNvPr>
          <p:cNvSpPr/>
          <p:nvPr/>
        </p:nvSpPr>
        <p:spPr bwMode="auto">
          <a:xfrm>
            <a:off x="417513" y="1524000"/>
            <a:ext cx="4283075" cy="461665"/>
          </a:xfrm>
          <a:prstGeom prst="round2Same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Main colors</a:t>
            </a:r>
            <a:endParaRPr lang="en-US" b="1" dirty="0">
              <a:solidFill>
                <a:schemeClr val="bg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21">
            <a:extLst>
              <a:ext uri="{FF2B5EF4-FFF2-40B4-BE49-F238E27FC236}">
                <a16:creationId xmlns:a16="http://schemas.microsoft.com/office/drawing/2014/main" id="{37397B61-1072-6946-9592-71D39F16860C}"/>
              </a:ext>
            </a:extLst>
          </p:cNvPr>
          <p:cNvSpPr/>
          <p:nvPr/>
        </p:nvSpPr>
        <p:spPr bwMode="auto">
          <a:xfrm>
            <a:off x="5205413" y="1524000"/>
            <a:ext cx="4282158" cy="461665"/>
          </a:xfrm>
          <a:prstGeom prst="round2Same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Highlight</a:t>
            </a:r>
            <a:endParaRPr lang="en-US" b="1" dirty="0">
              <a:solidFill>
                <a:schemeClr val="bg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: Rounded Corners 4">
            <a:extLst>
              <a:ext uri="{FF2B5EF4-FFF2-40B4-BE49-F238E27FC236}">
                <a16:creationId xmlns:a16="http://schemas.microsoft.com/office/drawing/2014/main" id="{C8D71A97-B624-794F-BFE0-5E5E0346E85D}"/>
              </a:ext>
            </a:extLst>
          </p:cNvPr>
          <p:cNvSpPr/>
          <p:nvPr/>
        </p:nvSpPr>
        <p:spPr bwMode="auto">
          <a:xfrm>
            <a:off x="417513" y="2184400"/>
            <a:ext cx="788987" cy="304800"/>
          </a:xfrm>
          <a:prstGeom prst="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8" name="Rectangle: Rounded Corners 22">
            <a:extLst>
              <a:ext uri="{FF2B5EF4-FFF2-40B4-BE49-F238E27FC236}">
                <a16:creationId xmlns:a16="http://schemas.microsoft.com/office/drawing/2014/main" id="{63BFD4C6-E4DA-344B-9BF9-948DCADA7A96}"/>
              </a:ext>
            </a:extLst>
          </p:cNvPr>
          <p:cNvSpPr/>
          <p:nvPr/>
        </p:nvSpPr>
        <p:spPr bwMode="auto">
          <a:xfrm>
            <a:off x="1582209" y="2184400"/>
            <a:ext cx="788987" cy="304800"/>
          </a:xfrm>
          <a:prstGeom prst="rect">
            <a:avLst/>
          </a:prstGeom>
          <a:solidFill>
            <a:srgbClr val="7DD8C7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9" name="Rectangle: Rounded Corners 23">
            <a:extLst>
              <a:ext uri="{FF2B5EF4-FFF2-40B4-BE49-F238E27FC236}">
                <a16:creationId xmlns:a16="http://schemas.microsoft.com/office/drawing/2014/main" id="{8F0C0C53-E2EC-AE42-BF13-F2EA852EB50E}"/>
              </a:ext>
            </a:extLst>
          </p:cNvPr>
          <p:cNvSpPr/>
          <p:nvPr/>
        </p:nvSpPr>
        <p:spPr bwMode="auto">
          <a:xfrm>
            <a:off x="1582209" y="4313370"/>
            <a:ext cx="788987" cy="304800"/>
          </a:xfrm>
          <a:prstGeom prst="rect">
            <a:avLst/>
          </a:prstGeom>
          <a:solidFill>
            <a:srgbClr val="F5FFC3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10" name="Rectangle: Rounded Corners 24">
            <a:extLst>
              <a:ext uri="{FF2B5EF4-FFF2-40B4-BE49-F238E27FC236}">
                <a16:creationId xmlns:a16="http://schemas.microsoft.com/office/drawing/2014/main" id="{8E7C3CA5-9371-9846-B7BF-845457CBD81B}"/>
              </a:ext>
            </a:extLst>
          </p:cNvPr>
          <p:cNvSpPr/>
          <p:nvPr/>
        </p:nvSpPr>
        <p:spPr bwMode="auto">
          <a:xfrm>
            <a:off x="2746905" y="4313370"/>
            <a:ext cx="788987" cy="304800"/>
          </a:xfrm>
          <a:prstGeom prst="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9EEAC8-AF91-FE48-92B5-02044936A087}"/>
              </a:ext>
            </a:extLst>
          </p:cNvPr>
          <p:cNvSpPr txBox="1"/>
          <p:nvPr/>
        </p:nvSpPr>
        <p:spPr>
          <a:xfrm>
            <a:off x="417513" y="2687935"/>
            <a:ext cx="915988" cy="784830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80, 154, </a:t>
            </a:r>
            <a:b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175</a:t>
            </a:r>
            <a:b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</a:br>
            <a:endParaRPr lang="en-US" dirty="0">
              <a:solidFill>
                <a:srgbClr val="509AAF"/>
              </a:solidFill>
              <a:latin typeface="IBM Plex Sans" panose="020B0503050203000203" pitchFamily="34" charset="0"/>
              <a:cs typeface="Poppins Medium" panose="00000600000000000000" pitchFamily="2" charset="0"/>
            </a:endParaRPr>
          </a:p>
        </p:txBody>
      </p:sp>
      <p:sp>
        <p:nvSpPr>
          <p:cNvPr id="12" name="Rectangle: Rounded Corners 26">
            <a:extLst>
              <a:ext uri="{FF2B5EF4-FFF2-40B4-BE49-F238E27FC236}">
                <a16:creationId xmlns:a16="http://schemas.microsoft.com/office/drawing/2014/main" id="{6990D58D-C71E-7E4F-9E05-E33AE5CC323A}"/>
              </a:ext>
            </a:extLst>
          </p:cNvPr>
          <p:cNvSpPr/>
          <p:nvPr/>
        </p:nvSpPr>
        <p:spPr bwMode="auto">
          <a:xfrm>
            <a:off x="5205413" y="2184400"/>
            <a:ext cx="788987" cy="304800"/>
          </a:xfrm>
          <a:prstGeom prst="rect">
            <a:avLst/>
          </a:prstGeom>
          <a:solidFill>
            <a:srgbClr val="612C83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A478BA-75C8-C841-B2D5-5F7FAB41EA67}"/>
              </a:ext>
            </a:extLst>
          </p:cNvPr>
          <p:cNvSpPr txBox="1"/>
          <p:nvPr/>
        </p:nvSpPr>
        <p:spPr>
          <a:xfrm>
            <a:off x="1585913" y="2687935"/>
            <a:ext cx="915988" cy="6001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125, 216, 199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EDCCC8-FDE9-A240-A603-2DED4CA2EB86}"/>
              </a:ext>
            </a:extLst>
          </p:cNvPr>
          <p:cNvSpPr txBox="1"/>
          <p:nvPr/>
        </p:nvSpPr>
        <p:spPr>
          <a:xfrm>
            <a:off x="1589617" y="4816905"/>
            <a:ext cx="915988" cy="6001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245, 255, 19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6A16D0-5B2B-6D49-A6B1-790E09B58F0C}"/>
              </a:ext>
            </a:extLst>
          </p:cNvPr>
          <p:cNvSpPr txBox="1"/>
          <p:nvPr/>
        </p:nvSpPr>
        <p:spPr>
          <a:xfrm>
            <a:off x="2758017" y="4816905"/>
            <a:ext cx="915988" cy="6001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191, 191, 19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1879499-C9DC-8E48-B16D-4273BC1167AA}"/>
              </a:ext>
            </a:extLst>
          </p:cNvPr>
          <p:cNvSpPr txBox="1"/>
          <p:nvPr/>
        </p:nvSpPr>
        <p:spPr>
          <a:xfrm>
            <a:off x="5205413" y="2687935"/>
            <a:ext cx="788987" cy="6001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97, 44, 131</a:t>
            </a:r>
          </a:p>
        </p:txBody>
      </p:sp>
      <p:sp>
        <p:nvSpPr>
          <p:cNvPr id="18" name="Rectangle: Rounded Corners 2">
            <a:extLst>
              <a:ext uri="{FF2B5EF4-FFF2-40B4-BE49-F238E27FC236}">
                <a16:creationId xmlns:a16="http://schemas.microsoft.com/office/drawing/2014/main" id="{A67319A6-E2B6-457D-AF0A-77592AAED6C8}"/>
              </a:ext>
            </a:extLst>
          </p:cNvPr>
          <p:cNvSpPr/>
          <p:nvPr/>
        </p:nvSpPr>
        <p:spPr bwMode="auto">
          <a:xfrm>
            <a:off x="417513" y="3569902"/>
            <a:ext cx="4283075" cy="461665"/>
          </a:xfrm>
          <a:prstGeom prst="round2Same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Secondary colours</a:t>
            </a:r>
            <a:endParaRPr lang="en-US" b="1" dirty="0">
              <a:solidFill>
                <a:schemeClr val="bg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: Rounded Corners 23">
            <a:extLst>
              <a:ext uri="{FF2B5EF4-FFF2-40B4-BE49-F238E27FC236}">
                <a16:creationId xmlns:a16="http://schemas.microsoft.com/office/drawing/2014/main" id="{67B5B977-41B9-445A-952A-D14B70DDB983}"/>
              </a:ext>
            </a:extLst>
          </p:cNvPr>
          <p:cNvSpPr/>
          <p:nvPr/>
        </p:nvSpPr>
        <p:spPr bwMode="auto">
          <a:xfrm>
            <a:off x="417513" y="4313370"/>
            <a:ext cx="788987" cy="30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0513E84-E694-4DB0-AAC5-258DC0212D38}"/>
              </a:ext>
            </a:extLst>
          </p:cNvPr>
          <p:cNvSpPr txBox="1"/>
          <p:nvPr/>
        </p:nvSpPr>
        <p:spPr>
          <a:xfrm>
            <a:off x="424921" y="4816905"/>
            <a:ext cx="915988" cy="6001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" panose="020B0503050203000203" pitchFamily="34" charset="0"/>
                <a:cs typeface="Poppins Medium" panose="00000600000000000000" pitchFamily="2" charset="0"/>
              </a:rPr>
              <a:t>242, 242, 242</a:t>
            </a:r>
          </a:p>
        </p:txBody>
      </p:sp>
    </p:spTree>
    <p:extLst>
      <p:ext uri="{BB962C8B-B14F-4D97-AF65-F5344CB8AC3E}">
        <p14:creationId xmlns:p14="http://schemas.microsoft.com/office/powerpoint/2010/main" val="97049319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0FEFABC8-3657-49E1-B044-FCE72BF806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8863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7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65E37E-30CB-F848-9EB0-CF01E4A0F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9072562" cy="539750"/>
          </a:xfrm>
        </p:spPr>
        <p:txBody>
          <a:bodyPr vert="horz"/>
          <a:lstStyle/>
          <a:p>
            <a:r>
              <a:rPr lang="en-US"/>
              <a:t>Icon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857280-FC6F-9049-8DEE-3804307424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</p:spPr>
        <p:txBody>
          <a:bodyPr/>
          <a:lstStyle/>
          <a:p>
            <a:fld id="{66AFC10B-F707-4E2E-A165-AA17571AEF0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BB279F3-25C3-4DAC-BF2C-A45A4A4C9A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Rectangle: Rounded Corners 2">
            <a:extLst>
              <a:ext uri="{FF2B5EF4-FFF2-40B4-BE49-F238E27FC236}">
                <a16:creationId xmlns:a16="http://schemas.microsoft.com/office/drawing/2014/main" id="{077842D3-9638-47D1-9B1A-8E24BA8A59AF}"/>
              </a:ext>
            </a:extLst>
          </p:cNvPr>
          <p:cNvSpPr/>
          <p:nvPr/>
        </p:nvSpPr>
        <p:spPr bwMode="auto">
          <a:xfrm>
            <a:off x="417513" y="1524000"/>
            <a:ext cx="9072562" cy="461665"/>
          </a:xfrm>
          <a:prstGeom prst="round2Same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Line and dotted icons </a:t>
            </a:r>
            <a:endParaRPr lang="en-US" b="1" dirty="0">
              <a:solidFill>
                <a:schemeClr val="bg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: Rounded Corners 2">
            <a:extLst>
              <a:ext uri="{FF2B5EF4-FFF2-40B4-BE49-F238E27FC236}">
                <a16:creationId xmlns:a16="http://schemas.microsoft.com/office/drawing/2014/main" id="{84224D43-8CB6-44CE-BB9F-E8B169A81E52}"/>
              </a:ext>
            </a:extLst>
          </p:cNvPr>
          <p:cNvSpPr/>
          <p:nvPr/>
        </p:nvSpPr>
        <p:spPr bwMode="auto">
          <a:xfrm>
            <a:off x="417513" y="3573049"/>
            <a:ext cx="9072562" cy="461665"/>
          </a:xfrm>
          <a:prstGeom prst="round2Same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or thin line icons </a:t>
            </a:r>
            <a:endParaRPr lang="en-US" b="1" dirty="0">
              <a:solidFill>
                <a:schemeClr val="bg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A55D0311-2E77-4FFF-896D-58DF3005A8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3277" y="4251431"/>
            <a:ext cx="1049529" cy="1049529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27F6E278-E63A-4EFA-9C17-4B0A78A94F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95076" y="4251431"/>
            <a:ext cx="1049529" cy="1049529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8406E738-4655-4CA7-8248-1B518BE364E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56875" y="4251431"/>
            <a:ext cx="1049529" cy="1049529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F08812D7-C4CB-413F-9044-7C81027FF0A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918675" y="4251431"/>
            <a:ext cx="1049529" cy="1049529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B7206F6E-F632-40A2-839D-937E7CAD815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176296" y="2202381"/>
            <a:ext cx="1153952" cy="1153952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784E0FF5-5C8C-476F-9F3D-47CE792A881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862335" y="2195148"/>
            <a:ext cx="1153952" cy="1153952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FE601ADF-31CE-4450-8830-71817B9BE90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519315" y="2195148"/>
            <a:ext cx="1153952" cy="1153952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90EF9D4-2726-4943-B699-6AC546EC218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33277" y="2195148"/>
            <a:ext cx="1153952" cy="1153952"/>
          </a:xfrm>
          <a:prstGeom prst="rect">
            <a:avLst/>
          </a:prstGeom>
        </p:spPr>
      </p:pic>
      <p:sp>
        <p:nvSpPr>
          <p:cNvPr id="30" name="Rectangle: Rounded Corners 2">
            <a:extLst>
              <a:ext uri="{FF2B5EF4-FFF2-40B4-BE49-F238E27FC236}">
                <a16:creationId xmlns:a16="http://schemas.microsoft.com/office/drawing/2014/main" id="{4B5FFF6B-FAD5-4C1E-9B49-55D2ECC4FF71}"/>
              </a:ext>
            </a:extLst>
          </p:cNvPr>
          <p:cNvSpPr/>
          <p:nvPr/>
        </p:nvSpPr>
        <p:spPr bwMode="auto">
          <a:xfrm>
            <a:off x="417513" y="5622099"/>
            <a:ext cx="9072562" cy="666534"/>
          </a:xfrm>
          <a:prstGeom prst="rect">
            <a:avLst/>
          </a:prstGeom>
          <a:solidFill>
            <a:srgbClr val="FFFF00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FF0000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You have to keep only one consistent style throughout whole file!</a:t>
            </a:r>
          </a:p>
        </p:txBody>
      </p:sp>
    </p:spTree>
    <p:extLst>
      <p:ext uri="{BB962C8B-B14F-4D97-AF65-F5344CB8AC3E}">
        <p14:creationId xmlns:p14="http://schemas.microsoft.com/office/powerpoint/2010/main" val="243938689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EBCC1D72-B0DE-43F6-83E8-9B807E6004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351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1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: Rounded Corners 1">
            <a:extLst>
              <a:ext uri="{FF2B5EF4-FFF2-40B4-BE49-F238E27FC236}">
                <a16:creationId xmlns:a16="http://schemas.microsoft.com/office/drawing/2014/main" id="{3BC82CC8-F0F0-4223-B3E0-43072E07C822}"/>
              </a:ext>
            </a:extLst>
          </p:cNvPr>
          <p:cNvSpPr/>
          <p:nvPr/>
        </p:nvSpPr>
        <p:spPr bwMode="auto">
          <a:xfrm>
            <a:off x="415770" y="4324448"/>
            <a:ext cx="9072562" cy="196163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Rectangle: Rounded Corners 1">
            <a:extLst>
              <a:ext uri="{FF2B5EF4-FFF2-40B4-BE49-F238E27FC236}">
                <a16:creationId xmlns:a16="http://schemas.microsoft.com/office/drawing/2014/main" id="{FC79D005-3455-DA4A-993A-E3AB9E3F905D}"/>
              </a:ext>
            </a:extLst>
          </p:cNvPr>
          <p:cNvSpPr/>
          <p:nvPr/>
        </p:nvSpPr>
        <p:spPr bwMode="auto">
          <a:xfrm>
            <a:off x="417514" y="1981717"/>
            <a:ext cx="9072562" cy="196163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6EA610C-C64B-D445-BC58-46C1D10FEA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1792266"/>
              </p:ext>
            </p:extLst>
          </p:nvPr>
        </p:nvGraphicFramePr>
        <p:xfrm>
          <a:off x="417513" y="2036212"/>
          <a:ext cx="9072561" cy="2359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9072562" cy="539750"/>
          </a:xfrm>
        </p:spPr>
        <p:txBody>
          <a:bodyPr vert="horz"/>
          <a:lstStyle/>
          <a:p>
            <a:r>
              <a:rPr lang="en-US"/>
              <a:t>Graph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</p:spPr>
        <p:txBody>
          <a:bodyPr/>
          <a:lstStyle/>
          <a:p>
            <a:fld id="{66AFC10B-F707-4E2E-A165-AA17571AEF0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AEBFCD4-F023-482D-AC65-FC663959FB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Rectangle: Rounded Corners 3">
            <a:extLst>
              <a:ext uri="{FF2B5EF4-FFF2-40B4-BE49-F238E27FC236}">
                <a16:creationId xmlns:a16="http://schemas.microsoft.com/office/drawing/2014/main" id="{10E8517D-EBBE-3A4B-995C-D3DA278CF6A8}"/>
              </a:ext>
            </a:extLst>
          </p:cNvPr>
          <p:cNvSpPr/>
          <p:nvPr/>
        </p:nvSpPr>
        <p:spPr bwMode="auto">
          <a:xfrm>
            <a:off x="3632200" y="2505075"/>
            <a:ext cx="473075" cy="1094002"/>
          </a:xfrm>
          <a:prstGeom prst="roundRect">
            <a:avLst>
              <a:gd name="adj" fmla="val 6863"/>
            </a:avLst>
          </a:prstGeom>
          <a:noFill/>
          <a:ln w="25400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9" name="Rectangle: Rounded Corners 22">
            <a:extLst>
              <a:ext uri="{FF2B5EF4-FFF2-40B4-BE49-F238E27FC236}">
                <a16:creationId xmlns:a16="http://schemas.microsoft.com/office/drawing/2014/main" id="{71D3393F-BE8A-604C-B326-2CBB83C613D4}"/>
              </a:ext>
            </a:extLst>
          </p:cNvPr>
          <p:cNvSpPr/>
          <p:nvPr/>
        </p:nvSpPr>
        <p:spPr bwMode="auto">
          <a:xfrm>
            <a:off x="6270721" y="2176743"/>
            <a:ext cx="109970" cy="105958"/>
          </a:xfrm>
          <a:prstGeom prst="roundRect">
            <a:avLst/>
          </a:prstGeom>
          <a:noFill/>
          <a:ln w="25400">
            <a:solidFill>
              <a:srgbClr val="612C83"/>
            </a:solidFill>
            <a:prstDash val="dash"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DBCACF9-B7A5-8543-B872-7944885167AD}"/>
              </a:ext>
            </a:extLst>
          </p:cNvPr>
          <p:cNvSpPr txBox="1"/>
          <p:nvPr/>
        </p:nvSpPr>
        <p:spPr>
          <a:xfrm>
            <a:off x="6369050" y="2094710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>
                <a:solidFill>
                  <a:srgbClr val="509AAF"/>
                </a:solidFill>
                <a:latin typeface="IBM Plex Sans" panose="020B0503050203000203" pitchFamily="34" charset="0"/>
              </a:rPr>
              <a:t>Highlight</a:t>
            </a:r>
            <a:endParaRPr lang="en-US" dirty="0">
              <a:solidFill>
                <a:srgbClr val="509AAF"/>
              </a:solidFill>
              <a:latin typeface="IBM Plex Sans" panose="020B0503050203000203" pitchFamily="34" charset="0"/>
            </a:endParaRPr>
          </a:p>
        </p:txBody>
      </p:sp>
      <p:sp>
        <p:nvSpPr>
          <p:cNvPr id="11" name="Rectangle: Rounded Corners 23">
            <a:extLst>
              <a:ext uri="{FF2B5EF4-FFF2-40B4-BE49-F238E27FC236}">
                <a16:creationId xmlns:a16="http://schemas.microsoft.com/office/drawing/2014/main" id="{D7901F4D-8A47-C846-80C6-750FAEECE00E}"/>
              </a:ext>
            </a:extLst>
          </p:cNvPr>
          <p:cNvSpPr/>
          <p:nvPr/>
        </p:nvSpPr>
        <p:spPr bwMode="auto">
          <a:xfrm>
            <a:off x="417513" y="4025382"/>
            <a:ext cx="9072562" cy="461665"/>
          </a:xfrm>
          <a:prstGeom prst="round2Same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Line graph</a:t>
            </a:r>
            <a:endParaRPr lang="en-US" b="1" dirty="0">
              <a:solidFill>
                <a:schemeClr val="bg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9CAAE1A4-3A44-A241-953B-3E6547B19A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797518"/>
              </p:ext>
            </p:extLst>
          </p:nvPr>
        </p:nvGraphicFramePr>
        <p:xfrm>
          <a:off x="417513" y="4562548"/>
          <a:ext cx="9070973" cy="1723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Rectangle: Rounded Corners 2">
            <a:extLst>
              <a:ext uri="{FF2B5EF4-FFF2-40B4-BE49-F238E27FC236}">
                <a16:creationId xmlns:a16="http://schemas.microsoft.com/office/drawing/2014/main" id="{A49A7346-0CF8-4C6F-AA4A-721A5D6E21CB}"/>
              </a:ext>
            </a:extLst>
          </p:cNvPr>
          <p:cNvSpPr/>
          <p:nvPr/>
        </p:nvSpPr>
        <p:spPr bwMode="auto">
          <a:xfrm>
            <a:off x="417513" y="1524000"/>
            <a:ext cx="9072562" cy="461665"/>
          </a:xfrm>
          <a:prstGeom prst="round2Same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Bar graph</a:t>
            </a:r>
          </a:p>
        </p:txBody>
      </p:sp>
    </p:spTree>
    <p:extLst>
      <p:ext uri="{BB962C8B-B14F-4D97-AF65-F5344CB8AC3E}">
        <p14:creationId xmlns:p14="http://schemas.microsoft.com/office/powerpoint/2010/main" val="186420256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10D4573-A5C8-4B41-9207-91B8C9A2C6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8189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3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C1C720D-3334-4F0C-9B29-3B5F4DE749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ient´s inspiration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20690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A255026-A4BB-428D-A2A2-20B6B2FAAA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098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5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: Rounded Corners 85">
            <a:extLst>
              <a:ext uri="{FF2B5EF4-FFF2-40B4-BE49-F238E27FC236}">
                <a16:creationId xmlns:a16="http://schemas.microsoft.com/office/drawing/2014/main" id="{3D121065-C83D-A140-BDB8-6010C78D9556}"/>
              </a:ext>
            </a:extLst>
          </p:cNvPr>
          <p:cNvSpPr/>
          <p:nvPr/>
        </p:nvSpPr>
        <p:spPr bwMode="auto">
          <a:xfrm>
            <a:off x="5205413" y="1953150"/>
            <a:ext cx="4283074" cy="1887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graphicFrame>
        <p:nvGraphicFramePr>
          <p:cNvPr id="46" name="ChartObject">
            <a:extLst>
              <a:ext uri="{FF2B5EF4-FFF2-40B4-BE49-F238E27FC236}">
                <a16:creationId xmlns:a16="http://schemas.microsoft.com/office/drawing/2014/main" id="{67D58829-E51D-D145-AB39-E5CB7BB42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3464728"/>
              </p:ext>
            </p:extLst>
          </p:nvPr>
        </p:nvGraphicFramePr>
        <p:xfrm>
          <a:off x="5102771" y="1858831"/>
          <a:ext cx="4389884" cy="1977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9072562" cy="539750"/>
          </a:xfrm>
        </p:spPr>
        <p:txBody>
          <a:bodyPr vert="horz">
            <a:normAutofit/>
          </a:bodyPr>
          <a:lstStyle/>
          <a:p>
            <a:r>
              <a:rPr lang="en-US" dirty="0"/>
              <a:t>Client </a:t>
            </a:r>
            <a:r>
              <a:rPr lang="en-US"/>
              <a:t>inspiration 1/4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</p:spPr>
        <p:txBody>
          <a:bodyPr/>
          <a:lstStyle/>
          <a:p>
            <a:fld id="{66AFC10B-F707-4E2E-A165-AA17571AEF0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C8C6086B-07DF-493F-A834-B455852A7D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: Rounded Corners 86">
            <a:extLst>
              <a:ext uri="{FF2B5EF4-FFF2-40B4-BE49-F238E27FC236}">
                <a16:creationId xmlns:a16="http://schemas.microsoft.com/office/drawing/2014/main" id="{36039563-7583-AC48-B2C4-0361483BD6CC}"/>
              </a:ext>
            </a:extLst>
          </p:cNvPr>
          <p:cNvSpPr/>
          <p:nvPr/>
        </p:nvSpPr>
        <p:spPr bwMode="auto">
          <a:xfrm>
            <a:off x="5205413" y="4390298"/>
            <a:ext cx="4283074" cy="1887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Rectangle: Rounded Corners 85">
            <a:extLst>
              <a:ext uri="{FF2B5EF4-FFF2-40B4-BE49-F238E27FC236}">
                <a16:creationId xmlns:a16="http://schemas.microsoft.com/office/drawing/2014/main" id="{EE8104AD-C0B1-B542-B3E6-72CF4820F6CA}"/>
              </a:ext>
            </a:extLst>
          </p:cNvPr>
          <p:cNvSpPr/>
          <p:nvPr/>
        </p:nvSpPr>
        <p:spPr bwMode="auto">
          <a:xfrm>
            <a:off x="417513" y="1948842"/>
            <a:ext cx="4283021" cy="1887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4236AE88-DA29-4B49-A144-88639C884CE8}"/>
              </a:ext>
            </a:extLst>
          </p:cNvPr>
          <p:cNvSpPr/>
          <p:nvPr/>
        </p:nvSpPr>
        <p:spPr>
          <a:xfrm>
            <a:off x="417513" y="5097425"/>
            <a:ext cx="4281387" cy="5758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4000" tIns="90000" bIns="90000" rtlCol="0" anchor="ctr">
            <a:noAutofit/>
          </a:bodyPr>
          <a:lstStyle/>
          <a:p>
            <a:pPr algn="l">
              <a:spcBef>
                <a:spcPts val="60"/>
              </a:spcBef>
              <a:spcAft>
                <a:spcPts val="600"/>
              </a:spcAft>
            </a:pP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Lorem ipsum dolor sit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,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lorem ipsum dolor sit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,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accent1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b="1" dirty="0">
                <a:solidFill>
                  <a:schemeClr val="accent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accent1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b="1" dirty="0">
                <a:solidFill>
                  <a:schemeClr val="accent1"/>
                </a:solidFill>
                <a:latin typeface="IBM Plex Sans" panose="020B0503050203000203" pitchFamily="34" charset="0"/>
              </a:rPr>
              <a:t> lorem 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ipsum</a:t>
            </a:r>
          </a:p>
        </p:txBody>
      </p:sp>
      <p:sp>
        <p:nvSpPr>
          <p:cNvPr id="9" name="Freeform: Shape 20">
            <a:extLst>
              <a:ext uri="{FF2B5EF4-FFF2-40B4-BE49-F238E27FC236}">
                <a16:creationId xmlns:a16="http://schemas.microsoft.com/office/drawing/2014/main" id="{6EA919A8-D680-6B4E-A27F-A31DF6D4D566}"/>
              </a:ext>
            </a:extLst>
          </p:cNvPr>
          <p:cNvSpPr/>
          <p:nvPr/>
        </p:nvSpPr>
        <p:spPr>
          <a:xfrm>
            <a:off x="417513" y="5702359"/>
            <a:ext cx="4281387" cy="5758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4000" tIns="90000" bIns="90000" rtlCol="0" anchor="ctr">
            <a:noAutofit/>
          </a:bodyPr>
          <a:lstStyle/>
          <a:p>
            <a:pPr algn="l">
              <a:spcBef>
                <a:spcPts val="60"/>
              </a:spcBef>
              <a:spcAft>
                <a:spcPts val="600"/>
              </a:spcAft>
            </a:pP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Lorem </a:t>
            </a:r>
            <a:r>
              <a:rPr lang="en-US" sz="1000" b="1" dirty="0">
                <a:solidFill>
                  <a:schemeClr val="accent1"/>
                </a:solidFill>
                <a:latin typeface="IBM Plex Sans" panose="020B0503050203000203" pitchFamily="34" charset="0"/>
              </a:rPr>
              <a:t>ipsum dolor 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sit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,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lorem ipsum dolor sit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,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lorem ipsum</a:t>
            </a:r>
          </a:p>
        </p:txBody>
      </p:sp>
      <p:graphicFrame>
        <p:nvGraphicFramePr>
          <p:cNvPr id="11" name="ChartObject">
            <a:extLst>
              <a:ext uri="{FF2B5EF4-FFF2-40B4-BE49-F238E27FC236}">
                <a16:creationId xmlns:a16="http://schemas.microsoft.com/office/drawing/2014/main" id="{D0BAAAFE-0CA2-3F47-81D0-BCC1CBC890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2439936"/>
              </p:ext>
            </p:extLst>
          </p:nvPr>
        </p:nvGraphicFramePr>
        <p:xfrm>
          <a:off x="5207015" y="4499472"/>
          <a:ext cx="4285640" cy="1670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Rectangle: Rounded Corners 31">
            <a:extLst>
              <a:ext uri="{FF2B5EF4-FFF2-40B4-BE49-F238E27FC236}">
                <a16:creationId xmlns:a16="http://schemas.microsoft.com/office/drawing/2014/main" id="{97CE6CA3-45BC-D548-BA9D-50E0D7646799}"/>
              </a:ext>
            </a:extLst>
          </p:cNvPr>
          <p:cNvSpPr/>
          <p:nvPr/>
        </p:nvSpPr>
        <p:spPr>
          <a:xfrm>
            <a:off x="5205413" y="1520888"/>
            <a:ext cx="4283074" cy="457200"/>
          </a:xfrm>
          <a:prstGeom prst="round2SameRect">
            <a:avLst/>
          </a:prstGeom>
          <a:solidFill>
            <a:srgbClr val="509AAF"/>
          </a:solidFill>
          <a:ln>
            <a:noFill/>
          </a:ln>
        </p:spPr>
        <p:txBody>
          <a:bodyPr wrap="square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Lorem ipsum dolor sit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,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lorem ipsum dolor sit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,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lorem ipsum</a:t>
            </a:r>
          </a:p>
        </p:txBody>
      </p:sp>
      <p:sp>
        <p:nvSpPr>
          <p:cNvPr id="15" name="Isosceles Triangle 32">
            <a:extLst>
              <a:ext uri="{FF2B5EF4-FFF2-40B4-BE49-F238E27FC236}">
                <a16:creationId xmlns:a16="http://schemas.microsoft.com/office/drawing/2014/main" id="{66DF6C87-EE0D-0B41-B2CF-B64B9FB2D62F}"/>
              </a:ext>
            </a:extLst>
          </p:cNvPr>
          <p:cNvSpPr/>
          <p:nvPr/>
        </p:nvSpPr>
        <p:spPr bwMode="auto">
          <a:xfrm>
            <a:off x="5215562" y="3605876"/>
            <a:ext cx="4285640" cy="460098"/>
          </a:xfrm>
          <a:prstGeom prst="triangle">
            <a:avLst>
              <a:gd name="adj" fmla="val 14578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612C83"/>
              </a:gs>
            </a:gsLst>
            <a:lin ang="16200000" scaled="1"/>
          </a:gradFill>
          <a:ln w="12700">
            <a:noFill/>
            <a:round/>
            <a:headEnd/>
            <a:tailEnd/>
          </a:ln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en-US" sz="1000" dirty="0">
              <a:latin typeface="IBM Plex Sans" panose="020B0503050203000203" pitchFamily="34" charset="0"/>
            </a:endParaRPr>
          </a:p>
        </p:txBody>
      </p:sp>
      <p:graphicFrame>
        <p:nvGraphicFramePr>
          <p:cNvPr id="16" name="ChartObject">
            <a:extLst>
              <a:ext uri="{FF2B5EF4-FFF2-40B4-BE49-F238E27FC236}">
                <a16:creationId xmlns:a16="http://schemas.microsoft.com/office/drawing/2014/main" id="{05957CA1-25F1-4E4A-8C95-9D94185474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6131618"/>
              </p:ext>
            </p:extLst>
          </p:nvPr>
        </p:nvGraphicFramePr>
        <p:xfrm>
          <a:off x="480888" y="1920998"/>
          <a:ext cx="4238374" cy="1977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Rectangle: Rounded Corners 35">
            <a:extLst>
              <a:ext uri="{FF2B5EF4-FFF2-40B4-BE49-F238E27FC236}">
                <a16:creationId xmlns:a16="http://schemas.microsoft.com/office/drawing/2014/main" id="{B4B6F7C6-0BD0-4B49-949A-BBB9731EB801}"/>
              </a:ext>
            </a:extLst>
          </p:cNvPr>
          <p:cNvSpPr/>
          <p:nvPr/>
        </p:nvSpPr>
        <p:spPr>
          <a:xfrm>
            <a:off x="417513" y="1520888"/>
            <a:ext cx="4281590" cy="457200"/>
          </a:xfrm>
          <a:prstGeom prst="round2SameRect">
            <a:avLst/>
          </a:prstGeom>
          <a:solidFill>
            <a:srgbClr val="509AAF"/>
          </a:solidFill>
          <a:ln>
            <a:noFill/>
          </a:ln>
        </p:spPr>
        <p:txBody>
          <a:bodyPr wrap="square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Lorem ipsum dolor sit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,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lorem ipsum dolor sit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,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lorem ipsu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7DE572-5A0C-EA45-B90B-EE9CF6813E40}"/>
              </a:ext>
            </a:extLst>
          </p:cNvPr>
          <p:cNvSpPr txBox="1"/>
          <p:nvPr/>
        </p:nvSpPr>
        <p:spPr>
          <a:xfrm>
            <a:off x="5770992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US" sz="1000">
                <a:latin typeface="IBM Plex Sans" panose="020B0503050203000203" pitchFamily="34" charset="0"/>
              </a:rPr>
              <a:t>2012</a:t>
            </a:r>
            <a:endParaRPr lang="en-US" sz="1000" dirty="0">
              <a:latin typeface="IBM Plex Sans" panose="020B050305020300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EB84410-5DDD-6945-93C1-F490B5126705}"/>
              </a:ext>
            </a:extLst>
          </p:cNvPr>
          <p:cNvSpPr txBox="1"/>
          <p:nvPr/>
        </p:nvSpPr>
        <p:spPr>
          <a:xfrm>
            <a:off x="6364159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US" sz="1000">
                <a:latin typeface="IBM Plex Sans" panose="020B0503050203000203" pitchFamily="34" charset="0"/>
              </a:rPr>
              <a:t>2013</a:t>
            </a:r>
            <a:endParaRPr lang="en-US" sz="1000" dirty="0">
              <a:latin typeface="IBM Plex Sans" panose="020B050305020300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B608714-0FAA-4D4E-9A25-EC1108F20DCC}"/>
              </a:ext>
            </a:extLst>
          </p:cNvPr>
          <p:cNvSpPr txBox="1"/>
          <p:nvPr/>
        </p:nvSpPr>
        <p:spPr>
          <a:xfrm>
            <a:off x="6957326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US" sz="1000">
                <a:latin typeface="IBM Plex Sans" panose="020B0503050203000203" pitchFamily="34" charset="0"/>
              </a:rPr>
              <a:t>2014</a:t>
            </a:r>
            <a:endParaRPr lang="en-US" sz="1000" dirty="0">
              <a:latin typeface="IBM Plex Sans" panose="020B050305020300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0C6C4AA-7AC5-8847-A2DB-A0EF176F891F}"/>
              </a:ext>
            </a:extLst>
          </p:cNvPr>
          <p:cNvSpPr txBox="1"/>
          <p:nvPr/>
        </p:nvSpPr>
        <p:spPr>
          <a:xfrm>
            <a:off x="7550493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US" sz="1000">
                <a:latin typeface="IBM Plex Sans" panose="020B0503050203000203" pitchFamily="34" charset="0"/>
              </a:rPr>
              <a:t>2015</a:t>
            </a:r>
            <a:endParaRPr lang="en-US" sz="1000" dirty="0">
              <a:latin typeface="IBM Plex Sans" panose="020B050305020300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A45D5C4-F6D9-A845-B1EC-AB31FEDE5162}"/>
              </a:ext>
            </a:extLst>
          </p:cNvPr>
          <p:cNvSpPr txBox="1"/>
          <p:nvPr/>
        </p:nvSpPr>
        <p:spPr>
          <a:xfrm>
            <a:off x="8736825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US" sz="1000">
                <a:latin typeface="IBM Plex Sans" panose="020B0503050203000203" pitchFamily="34" charset="0"/>
              </a:rPr>
              <a:t>2017</a:t>
            </a:r>
            <a:endParaRPr lang="en-US" sz="1000" dirty="0">
              <a:latin typeface="IBM Plex Sans" panose="020B050305020300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9AE73A-3BB6-E442-B7E0-CE70C5F0B52A}"/>
              </a:ext>
            </a:extLst>
          </p:cNvPr>
          <p:cNvSpPr txBox="1"/>
          <p:nvPr/>
        </p:nvSpPr>
        <p:spPr>
          <a:xfrm>
            <a:off x="8143660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US" sz="1000">
                <a:latin typeface="IBM Plex Sans" panose="020B0503050203000203" pitchFamily="34" charset="0"/>
              </a:rPr>
              <a:t>2016</a:t>
            </a:r>
            <a:endParaRPr lang="en-US" sz="1000" dirty="0">
              <a:latin typeface="IBM Plex Sans" panose="020B0503050203000203" pitchFamily="34" charset="0"/>
            </a:endParaRPr>
          </a:p>
        </p:txBody>
      </p:sp>
      <p:sp>
        <p:nvSpPr>
          <p:cNvPr id="24" name="Rectangle: Rounded Corners 42">
            <a:extLst>
              <a:ext uri="{FF2B5EF4-FFF2-40B4-BE49-F238E27FC236}">
                <a16:creationId xmlns:a16="http://schemas.microsoft.com/office/drawing/2014/main" id="{F3B4A0FE-52E7-8547-B477-77ABD6395218}"/>
              </a:ext>
            </a:extLst>
          </p:cNvPr>
          <p:cNvSpPr/>
          <p:nvPr/>
        </p:nvSpPr>
        <p:spPr bwMode="auto">
          <a:xfrm>
            <a:off x="417513" y="4006250"/>
            <a:ext cx="4281388" cy="457200"/>
          </a:xfrm>
          <a:prstGeom prst="round2Same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83077" tIns="43200" rIns="83077" bIns="43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Lorem ipsum dolor sit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,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lorem ipsum dolor sit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,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lorem ipsum</a:t>
            </a:r>
          </a:p>
        </p:txBody>
      </p:sp>
      <p:sp>
        <p:nvSpPr>
          <p:cNvPr id="25" name="Freeform: Shape 43">
            <a:extLst>
              <a:ext uri="{FF2B5EF4-FFF2-40B4-BE49-F238E27FC236}">
                <a16:creationId xmlns:a16="http://schemas.microsoft.com/office/drawing/2014/main" id="{319D5890-AF75-F149-AFB9-18F61CFE7FC0}"/>
              </a:ext>
            </a:extLst>
          </p:cNvPr>
          <p:cNvSpPr/>
          <p:nvPr/>
        </p:nvSpPr>
        <p:spPr>
          <a:xfrm>
            <a:off x="417513" y="4492491"/>
            <a:ext cx="4281387" cy="5758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4000" tIns="90000" bIns="90000" rtlCol="0" anchor="ctr">
            <a:noAutofit/>
          </a:bodyPr>
          <a:lstStyle/>
          <a:p>
            <a:pPr algn="l">
              <a:spcBef>
                <a:spcPts val="60"/>
              </a:spcBef>
              <a:spcAft>
                <a:spcPts val="600"/>
              </a:spcAft>
            </a:pP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Lorem ipsum </a:t>
            </a:r>
            <a:r>
              <a:rPr lang="en-US" sz="1000" b="1" dirty="0">
                <a:solidFill>
                  <a:schemeClr val="accent1"/>
                </a:solidFill>
                <a:latin typeface="IBM Plex Sans" panose="020B0503050203000203" pitchFamily="34" charset="0"/>
              </a:rPr>
              <a:t>dolor sit </a:t>
            </a:r>
            <a:r>
              <a:rPr lang="en-US" sz="1000" b="1" dirty="0" err="1">
                <a:solidFill>
                  <a:schemeClr val="accent1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,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lorem ipsum dolor sit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,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en-US" sz="1000" dirty="0" err="1">
                <a:solidFill>
                  <a:srgbClr val="509AAF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dirty="0">
                <a:solidFill>
                  <a:srgbClr val="509AAF"/>
                </a:solidFill>
                <a:latin typeface="IBM Plex Sans" panose="020B0503050203000203" pitchFamily="34" charset="0"/>
              </a:rPr>
              <a:t> lorem ipsum</a:t>
            </a:r>
          </a:p>
        </p:txBody>
      </p:sp>
      <p:pic>
        <p:nvPicPr>
          <p:cNvPr id="26" name="Picture 2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4C69D851-F70B-C648-A7A2-A92F9F6968F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22289" y="3477771"/>
            <a:ext cx="94247" cy="136972"/>
          </a:xfrm>
          <a:prstGeom prst="rect">
            <a:avLst/>
          </a:prstGeom>
          <a:ln>
            <a:noFill/>
          </a:ln>
        </p:spPr>
      </p:pic>
      <p:pic>
        <p:nvPicPr>
          <p:cNvPr id="27" name="Picture 26" descr="A close up of a sign&#10;&#10;Description generated with high confidence">
            <a:extLst>
              <a:ext uri="{FF2B5EF4-FFF2-40B4-BE49-F238E27FC236}">
                <a16:creationId xmlns:a16="http://schemas.microsoft.com/office/drawing/2014/main" id="{0391ECE9-7E04-EA4C-AD40-3B0FD005BE6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32892" y="3484700"/>
            <a:ext cx="344436" cy="120897"/>
          </a:xfrm>
          <a:prstGeom prst="rect">
            <a:avLst/>
          </a:prstGeom>
        </p:spPr>
      </p:pic>
      <p:pic>
        <p:nvPicPr>
          <p:cNvPr id="28" name="Picture 27" descr="A close up of a logo&#10;&#10;Description generated with high confidence">
            <a:extLst>
              <a:ext uri="{FF2B5EF4-FFF2-40B4-BE49-F238E27FC236}">
                <a16:creationId xmlns:a16="http://schemas.microsoft.com/office/drawing/2014/main" id="{889AB71A-BEF3-C449-B87A-E79488C5FF7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08030" y="3492032"/>
            <a:ext cx="442072" cy="11629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56C9427-0010-A54D-A96A-F42681CB942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119861" y="3419912"/>
            <a:ext cx="262649" cy="27052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6ABFF15-DD92-9446-9CFB-632AAA3251E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662488" y="3426779"/>
            <a:ext cx="443122" cy="24371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A3171F-696D-C340-B489-7A570D50B4A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314140" y="3507953"/>
            <a:ext cx="401132" cy="105899"/>
          </a:xfrm>
          <a:prstGeom prst="rect">
            <a:avLst/>
          </a:prstGeom>
        </p:spPr>
      </p:pic>
      <p:pic>
        <p:nvPicPr>
          <p:cNvPr id="32" name="Picture 3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ABDFE71-D953-8F4F-BBC8-37BDE369C5D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024150" y="3433397"/>
            <a:ext cx="262649" cy="26264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B42AFE8-6BF7-FB43-9F9D-AE3A6F293BD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669694" y="3446910"/>
            <a:ext cx="221400" cy="221400"/>
          </a:xfrm>
          <a:prstGeom prst="rect">
            <a:avLst/>
          </a:prstGeom>
        </p:spPr>
      </p:pic>
      <p:pic>
        <p:nvPicPr>
          <p:cNvPr id="34" name="Picture 33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951A059F-AB43-FB41-BB8D-5EC18841280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255967" y="3419362"/>
            <a:ext cx="280604" cy="280604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D0A3E3E6-BBAB-7546-8C5F-4F1B24D992C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17076" y="3499176"/>
            <a:ext cx="408291" cy="11709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EF17986A-D2E7-344B-83E2-5E864C1E6A1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31162" y="3431535"/>
            <a:ext cx="251572" cy="251572"/>
          </a:xfrm>
          <a:prstGeom prst="rect">
            <a:avLst/>
          </a:prstGeom>
        </p:spPr>
      </p:pic>
      <p:pic>
        <p:nvPicPr>
          <p:cNvPr id="37" name="Picture 3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17AC740-8F2E-0F4C-9D78-C80A23D4D7C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484293" y="3238933"/>
            <a:ext cx="515567" cy="515567"/>
          </a:xfrm>
          <a:prstGeom prst="rect">
            <a:avLst/>
          </a:prstGeom>
        </p:spPr>
      </p:pic>
      <p:pic>
        <p:nvPicPr>
          <p:cNvPr id="38" name="Picture 3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FD9E204-B161-8D44-8F43-4CA06ECBA23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535775" y="3425394"/>
            <a:ext cx="607885" cy="20041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E8B72149-448B-5C4B-8C2C-B405D6464AB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476313" y="3458963"/>
            <a:ext cx="657225" cy="153683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D30DFEBF-F5F3-8048-8CC1-6E21F5B8EC86}"/>
              </a:ext>
            </a:extLst>
          </p:cNvPr>
          <p:cNvSpPr txBox="1"/>
          <p:nvPr/>
        </p:nvSpPr>
        <p:spPr>
          <a:xfrm>
            <a:off x="8288621" y="3354435"/>
            <a:ext cx="1093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rgbClr val="509AAF"/>
                </a:solidFill>
                <a:latin typeface="IBM Plex Sans" panose="020B0503050203000203" pitchFamily="34" charset="0"/>
              </a:rPr>
              <a:t>Subscription to any</a:t>
            </a:r>
            <a:endParaRPr lang="en-US" sz="1000" dirty="0">
              <a:solidFill>
                <a:srgbClr val="509AAF"/>
              </a:solidFill>
              <a:latin typeface="IBM Plex Sans" panose="020B0503050203000203" pitchFamily="34" charset="0"/>
            </a:endParaRP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3293972A-9513-C946-85CD-EE2AA5AFA76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09797" y="4563482"/>
            <a:ext cx="433909" cy="433909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2B181046-8E11-6845-A851-41AFE5E2F66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03707" y="5162327"/>
            <a:ext cx="446088" cy="446088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CA057F6F-B98C-724C-AF7F-87BFCBB34A63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1552" y="5727853"/>
            <a:ext cx="550399" cy="550399"/>
          </a:xfrm>
          <a:prstGeom prst="rect">
            <a:avLst/>
          </a:prstGeom>
        </p:spPr>
      </p:pic>
      <p:sp>
        <p:nvSpPr>
          <p:cNvPr id="47" name="Rectangle: Rounded Corners 3">
            <a:extLst>
              <a:ext uri="{FF2B5EF4-FFF2-40B4-BE49-F238E27FC236}">
                <a16:creationId xmlns:a16="http://schemas.microsoft.com/office/drawing/2014/main" id="{9A2A3948-C95D-4F03-A475-A13293147733}"/>
              </a:ext>
            </a:extLst>
          </p:cNvPr>
          <p:cNvSpPr/>
          <p:nvPr/>
        </p:nvSpPr>
        <p:spPr bwMode="auto">
          <a:xfrm>
            <a:off x="5343363" y="2271115"/>
            <a:ext cx="780054" cy="1094002"/>
          </a:xfrm>
          <a:prstGeom prst="roundRect">
            <a:avLst>
              <a:gd name="adj" fmla="val 6863"/>
            </a:avLst>
          </a:prstGeom>
          <a:noFill/>
          <a:ln w="25400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dirty="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12" name="Rectangle: Rounded Corners 29">
            <a:extLst>
              <a:ext uri="{FF2B5EF4-FFF2-40B4-BE49-F238E27FC236}">
                <a16:creationId xmlns:a16="http://schemas.microsoft.com/office/drawing/2014/main" id="{91CDB967-9D0A-9B4D-AA67-15D14977C38B}"/>
              </a:ext>
            </a:extLst>
          </p:cNvPr>
          <p:cNvSpPr/>
          <p:nvPr/>
        </p:nvSpPr>
        <p:spPr>
          <a:xfrm>
            <a:off x="5205413" y="4006250"/>
            <a:ext cx="4283074" cy="45720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txBody>
          <a:bodyPr wrap="square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Lorem ipsum dolor sit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,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lorem ipsum dolor sit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me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,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consectetur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adipiscing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elit</a:t>
            </a:r>
            <a:r>
              <a:rPr lang="en-US" sz="1000" b="1" dirty="0">
                <a:solidFill>
                  <a:schemeClr val="bg1"/>
                </a:solidFill>
                <a:latin typeface="IBM Plex Sans" panose="020B0503050203000203" pitchFamily="34" charset="0"/>
              </a:rPr>
              <a:t> lorem ipsum</a:t>
            </a:r>
          </a:p>
        </p:txBody>
      </p:sp>
    </p:spTree>
    <p:extLst>
      <p:ext uri="{BB962C8B-B14F-4D97-AF65-F5344CB8AC3E}">
        <p14:creationId xmlns:p14="http://schemas.microsoft.com/office/powerpoint/2010/main" val="416820863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C617E908-CD2A-41CC-BBF4-5E42A69BF7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019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9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9072562" cy="539750"/>
          </a:xfrm>
        </p:spPr>
        <p:txBody>
          <a:bodyPr vert="horz"/>
          <a:lstStyle/>
          <a:p>
            <a:r>
              <a:rPr lang="en-US" dirty="0"/>
              <a:t>Client </a:t>
            </a:r>
            <a:r>
              <a:rPr lang="en-US"/>
              <a:t>inspiration 2/4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</p:spPr>
        <p:txBody>
          <a:bodyPr/>
          <a:lstStyle/>
          <a:p>
            <a:fld id="{66AFC10B-F707-4E2E-A165-AA17571AEF0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98E368D4-6406-41C4-BABB-92A2595107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reeform 84">
            <a:extLst>
              <a:ext uri="{FF2B5EF4-FFF2-40B4-BE49-F238E27FC236}">
                <a16:creationId xmlns:a16="http://schemas.microsoft.com/office/drawing/2014/main" id="{2D4544D6-4807-FB44-9B93-51045988C824}"/>
              </a:ext>
            </a:extLst>
          </p:cNvPr>
          <p:cNvSpPr/>
          <p:nvPr/>
        </p:nvSpPr>
        <p:spPr>
          <a:xfrm>
            <a:off x="5576087" y="2734030"/>
            <a:ext cx="1487774" cy="660008"/>
          </a:xfrm>
          <a:custGeom>
            <a:avLst/>
            <a:gdLst>
              <a:gd name="connsiteX0" fmla="*/ 0 w 825500"/>
              <a:gd name="connsiteY0" fmla="*/ 311150 h 311150"/>
              <a:gd name="connsiteX1" fmla="*/ 0 w 825500"/>
              <a:gd name="connsiteY1" fmla="*/ 0 h 311150"/>
              <a:gd name="connsiteX2" fmla="*/ 825500 w 825500"/>
              <a:gd name="connsiteY2" fmla="*/ 0 h 31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5500" h="311150">
                <a:moveTo>
                  <a:pt x="0" y="311150"/>
                </a:moveTo>
                <a:lnTo>
                  <a:pt x="0" y="0"/>
                </a:lnTo>
                <a:lnTo>
                  <a:pt x="82550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Freeform 87">
            <a:extLst>
              <a:ext uri="{FF2B5EF4-FFF2-40B4-BE49-F238E27FC236}">
                <a16:creationId xmlns:a16="http://schemas.microsoft.com/office/drawing/2014/main" id="{F30A8C9B-F7C9-B54C-A6C3-D44C72F2F544}"/>
              </a:ext>
            </a:extLst>
          </p:cNvPr>
          <p:cNvSpPr/>
          <p:nvPr/>
        </p:nvSpPr>
        <p:spPr>
          <a:xfrm flipH="1">
            <a:off x="6315951" y="3764894"/>
            <a:ext cx="3063122" cy="45719"/>
          </a:xfrm>
          <a:custGeom>
            <a:avLst/>
            <a:gdLst>
              <a:gd name="connsiteX0" fmla="*/ 762000 w 762000"/>
              <a:gd name="connsiteY0" fmla="*/ 0 h 0"/>
              <a:gd name="connsiteX1" fmla="*/ 0 w 762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000">
                <a:moveTo>
                  <a:pt x="76200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8FE292B-0491-4042-A1B3-6C2D30247A63}"/>
              </a:ext>
            </a:extLst>
          </p:cNvPr>
          <p:cNvSpPr/>
          <p:nvPr/>
        </p:nvSpPr>
        <p:spPr>
          <a:xfrm flipH="1">
            <a:off x="5697661" y="4600207"/>
            <a:ext cx="2966393" cy="59142"/>
          </a:xfrm>
          <a:custGeom>
            <a:avLst/>
            <a:gdLst>
              <a:gd name="connsiteX0" fmla="*/ 762000 w 762000"/>
              <a:gd name="connsiteY0" fmla="*/ 0 h 0"/>
              <a:gd name="connsiteX1" fmla="*/ 0 w 762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000">
                <a:moveTo>
                  <a:pt x="76200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8" name="Freeform 79">
            <a:extLst>
              <a:ext uri="{FF2B5EF4-FFF2-40B4-BE49-F238E27FC236}">
                <a16:creationId xmlns:a16="http://schemas.microsoft.com/office/drawing/2014/main" id="{881CD05D-2C3D-C448-AC37-280412723AD7}"/>
              </a:ext>
            </a:extLst>
          </p:cNvPr>
          <p:cNvSpPr/>
          <p:nvPr/>
        </p:nvSpPr>
        <p:spPr>
          <a:xfrm>
            <a:off x="2174673" y="3868752"/>
            <a:ext cx="1373330" cy="0"/>
          </a:xfrm>
          <a:custGeom>
            <a:avLst/>
            <a:gdLst>
              <a:gd name="connsiteX0" fmla="*/ 762000 w 762000"/>
              <a:gd name="connsiteY0" fmla="*/ 0 h 0"/>
              <a:gd name="connsiteX1" fmla="*/ 0 w 762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000">
                <a:moveTo>
                  <a:pt x="76200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9" name="Freeform 82">
            <a:extLst>
              <a:ext uri="{FF2B5EF4-FFF2-40B4-BE49-F238E27FC236}">
                <a16:creationId xmlns:a16="http://schemas.microsoft.com/office/drawing/2014/main" id="{B5A193A7-C78F-D944-AF0C-E5AEC210CC84}"/>
              </a:ext>
            </a:extLst>
          </p:cNvPr>
          <p:cNvSpPr/>
          <p:nvPr/>
        </p:nvSpPr>
        <p:spPr>
          <a:xfrm>
            <a:off x="1453675" y="4326431"/>
            <a:ext cx="2431939" cy="772149"/>
          </a:xfrm>
          <a:custGeom>
            <a:avLst/>
            <a:gdLst>
              <a:gd name="connsiteX0" fmla="*/ 1349375 w 1349375"/>
              <a:gd name="connsiteY0" fmla="*/ 0 h 596900"/>
              <a:gd name="connsiteX1" fmla="*/ 590550 w 1349375"/>
              <a:gd name="connsiteY1" fmla="*/ 0 h 596900"/>
              <a:gd name="connsiteX2" fmla="*/ 590550 w 1349375"/>
              <a:gd name="connsiteY2" fmla="*/ 596900 h 596900"/>
              <a:gd name="connsiteX3" fmla="*/ 0 w 1349375"/>
              <a:gd name="connsiteY3" fmla="*/ 596900 h 59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49375" h="596900">
                <a:moveTo>
                  <a:pt x="1349375" y="0"/>
                </a:moveTo>
                <a:lnTo>
                  <a:pt x="590550" y="0"/>
                </a:lnTo>
                <a:lnTo>
                  <a:pt x="590550" y="596900"/>
                </a:lnTo>
                <a:lnTo>
                  <a:pt x="0" y="59690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10" name="Freeform 83">
            <a:extLst>
              <a:ext uri="{FF2B5EF4-FFF2-40B4-BE49-F238E27FC236}">
                <a16:creationId xmlns:a16="http://schemas.microsoft.com/office/drawing/2014/main" id="{E2298859-ECA0-4144-BDC4-2F59EB018A02}"/>
              </a:ext>
            </a:extLst>
          </p:cNvPr>
          <p:cNvSpPr/>
          <p:nvPr/>
        </p:nvSpPr>
        <p:spPr>
          <a:xfrm>
            <a:off x="3121700" y="5201259"/>
            <a:ext cx="1261746" cy="677684"/>
          </a:xfrm>
          <a:custGeom>
            <a:avLst/>
            <a:gdLst>
              <a:gd name="connsiteX0" fmla="*/ 700087 w 700087"/>
              <a:gd name="connsiteY0" fmla="*/ 0 h 523875"/>
              <a:gd name="connsiteX1" fmla="*/ 614362 w 700087"/>
              <a:gd name="connsiteY1" fmla="*/ 0 h 523875"/>
              <a:gd name="connsiteX2" fmla="*/ 614362 w 700087"/>
              <a:gd name="connsiteY2" fmla="*/ 523875 h 523875"/>
              <a:gd name="connsiteX3" fmla="*/ 0 w 700087"/>
              <a:gd name="connsiteY3" fmla="*/ 5238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0087" h="523875">
                <a:moveTo>
                  <a:pt x="700087" y="0"/>
                </a:moveTo>
                <a:lnTo>
                  <a:pt x="614362" y="0"/>
                </a:lnTo>
                <a:lnTo>
                  <a:pt x="614362" y="523875"/>
                </a:lnTo>
                <a:lnTo>
                  <a:pt x="0" y="523875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2129D5-A2A3-C742-92ED-92545242C51E}"/>
              </a:ext>
            </a:extLst>
          </p:cNvPr>
          <p:cNvSpPr txBox="1"/>
          <p:nvPr/>
        </p:nvSpPr>
        <p:spPr>
          <a:xfrm>
            <a:off x="1186044" y="4872921"/>
            <a:ext cx="1175224" cy="18466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b="1" dirty="0">
                <a:solidFill>
                  <a:srgbClr val="509AAF"/>
                </a:solidFill>
                <a:latin typeface="IBM Plex Sans" panose="020B05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8453EC-D94C-A247-BE51-E76ACF009447}"/>
              </a:ext>
            </a:extLst>
          </p:cNvPr>
          <p:cNvSpPr txBox="1"/>
          <p:nvPr/>
        </p:nvSpPr>
        <p:spPr>
          <a:xfrm>
            <a:off x="3020587" y="5658899"/>
            <a:ext cx="1036433" cy="18466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b="1" dirty="0">
                <a:solidFill>
                  <a:srgbClr val="509AAF"/>
                </a:solidFill>
                <a:latin typeface="IBM Plex Sans" panose="020B05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C868F2-0BA8-9044-991B-EF94BD4BBE19}"/>
              </a:ext>
            </a:extLst>
          </p:cNvPr>
          <p:cNvSpPr txBox="1"/>
          <p:nvPr/>
        </p:nvSpPr>
        <p:spPr>
          <a:xfrm>
            <a:off x="2220396" y="3657863"/>
            <a:ext cx="1069754" cy="18466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rgbClr val="509AAF"/>
                </a:solidFill>
                <a:latin typeface="IBM Plex Sans" panose="020B05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78A2AAA-74F1-0249-9AA9-FD50BD012837}"/>
              </a:ext>
            </a:extLst>
          </p:cNvPr>
          <p:cNvCxnSpPr>
            <a:cxnSpLocks/>
          </p:cNvCxnSpPr>
          <p:nvPr/>
        </p:nvCxnSpPr>
        <p:spPr>
          <a:xfrm flipH="1">
            <a:off x="4947877" y="1637834"/>
            <a:ext cx="3807" cy="4277000"/>
          </a:xfrm>
          <a:prstGeom prst="line">
            <a:avLst/>
          </a:prstGeom>
          <a:ln w="19050">
            <a:solidFill>
              <a:srgbClr val="612C8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form 147">
            <a:extLst>
              <a:ext uri="{FF2B5EF4-FFF2-40B4-BE49-F238E27FC236}">
                <a16:creationId xmlns:a16="http://schemas.microsoft.com/office/drawing/2014/main" id="{086B8F01-AF17-6F42-B640-33F4694F47FC}"/>
              </a:ext>
            </a:extLst>
          </p:cNvPr>
          <p:cNvSpPr/>
          <p:nvPr/>
        </p:nvSpPr>
        <p:spPr>
          <a:xfrm flipV="1">
            <a:off x="4686282" y="5326484"/>
            <a:ext cx="4802205" cy="959220"/>
          </a:xfrm>
          <a:custGeom>
            <a:avLst/>
            <a:gdLst>
              <a:gd name="connsiteX0" fmla="*/ 0 w 3446945"/>
              <a:gd name="connsiteY0" fmla="*/ 990649 h 990649"/>
              <a:gd name="connsiteX1" fmla="*/ 407930 w 3446945"/>
              <a:gd name="connsiteY1" fmla="*/ 990649 h 990649"/>
              <a:gd name="connsiteX2" fmla="*/ 407930 w 3446945"/>
              <a:gd name="connsiteY2" fmla="*/ 553686 h 990649"/>
              <a:gd name="connsiteX3" fmla="*/ 553118 w 3446945"/>
              <a:gd name="connsiteY3" fmla="*/ 408498 h 990649"/>
              <a:gd name="connsiteX4" fmla="*/ 1093534 w 3446945"/>
              <a:gd name="connsiteY4" fmla="*/ 408498 h 990649"/>
              <a:gd name="connsiteX5" fmla="*/ 1093534 w 3446945"/>
              <a:gd name="connsiteY5" fmla="*/ 409690 h 990649"/>
              <a:gd name="connsiteX6" fmla="*/ 3446945 w 3446945"/>
              <a:gd name="connsiteY6" fmla="*/ 409690 h 990649"/>
              <a:gd name="connsiteX7" fmla="*/ 3446945 w 3446945"/>
              <a:gd name="connsiteY7" fmla="*/ 0 h 990649"/>
              <a:gd name="connsiteX8" fmla="*/ 1093534 w 3446945"/>
              <a:gd name="connsiteY8" fmla="*/ 0 h 990649"/>
              <a:gd name="connsiteX9" fmla="*/ 1093534 w 3446945"/>
              <a:gd name="connsiteY9" fmla="*/ 568 h 990649"/>
              <a:gd name="connsiteX10" fmla="*/ 553118 w 3446945"/>
              <a:gd name="connsiteY10" fmla="*/ 568 h 990649"/>
              <a:gd name="connsiteX11" fmla="*/ 0 w 3446945"/>
              <a:gd name="connsiteY11" fmla="*/ 553686 h 990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446945" h="990649">
                <a:moveTo>
                  <a:pt x="0" y="990649"/>
                </a:moveTo>
                <a:lnTo>
                  <a:pt x="407930" y="990649"/>
                </a:lnTo>
                <a:lnTo>
                  <a:pt x="407930" y="553686"/>
                </a:lnTo>
                <a:cubicBezTo>
                  <a:pt x="407930" y="473501"/>
                  <a:pt x="472933" y="408498"/>
                  <a:pt x="553118" y="408498"/>
                </a:cubicBezTo>
                <a:lnTo>
                  <a:pt x="1093534" y="408498"/>
                </a:lnTo>
                <a:lnTo>
                  <a:pt x="1093534" y="409690"/>
                </a:lnTo>
                <a:lnTo>
                  <a:pt x="3446945" y="409690"/>
                </a:lnTo>
                <a:lnTo>
                  <a:pt x="3446945" y="0"/>
                </a:lnTo>
                <a:lnTo>
                  <a:pt x="1093534" y="0"/>
                </a:lnTo>
                <a:lnTo>
                  <a:pt x="1093534" y="568"/>
                </a:lnTo>
                <a:lnTo>
                  <a:pt x="553118" y="568"/>
                </a:lnTo>
                <a:cubicBezTo>
                  <a:pt x="247640" y="568"/>
                  <a:pt x="0" y="248208"/>
                  <a:pt x="0" y="553686"/>
                </a:cubicBezTo>
                <a:close/>
              </a:path>
            </a:pathLst>
          </a:cu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16" name="Freeform: Shape 102">
            <a:extLst>
              <a:ext uri="{FF2B5EF4-FFF2-40B4-BE49-F238E27FC236}">
                <a16:creationId xmlns:a16="http://schemas.microsoft.com/office/drawing/2014/main" id="{32910795-7CCA-BF43-933D-16889950F7EC}"/>
              </a:ext>
            </a:extLst>
          </p:cNvPr>
          <p:cNvSpPr>
            <a:spLocks/>
          </p:cNvSpPr>
          <p:nvPr/>
        </p:nvSpPr>
        <p:spPr bwMode="auto">
          <a:xfrm>
            <a:off x="3238340" y="3489490"/>
            <a:ext cx="3409047" cy="1854993"/>
          </a:xfrm>
          <a:custGeom>
            <a:avLst/>
            <a:gdLst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95471 w 3409047"/>
              <a:gd name="connsiteY29" fmla="*/ 849360 h 1915772"/>
              <a:gd name="connsiteX30" fmla="*/ 571064 w 3409047"/>
              <a:gd name="connsiteY30" fmla="*/ 826257 h 1915772"/>
              <a:gd name="connsiteX31" fmla="*/ 550144 w 3409047"/>
              <a:gd name="connsiteY31" fmla="*/ 798953 h 1915772"/>
              <a:gd name="connsiteX32" fmla="*/ 522251 w 3409047"/>
              <a:gd name="connsiteY32" fmla="*/ 750646 h 1915772"/>
              <a:gd name="connsiteX33" fmla="*/ 435084 w 3409047"/>
              <a:gd name="connsiteY33" fmla="*/ 637230 h 1915772"/>
              <a:gd name="connsiteX34" fmla="*/ 414164 w 3409047"/>
              <a:gd name="connsiteY34" fmla="*/ 609926 h 1915772"/>
              <a:gd name="connsiteX35" fmla="*/ 232856 w 3409047"/>
              <a:gd name="connsiteY35" fmla="*/ 359989 h 1915772"/>
              <a:gd name="connsiteX36" fmla="*/ 215423 w 3409047"/>
              <a:gd name="connsiteY36" fmla="*/ 332685 h 1915772"/>
              <a:gd name="connsiteX37" fmla="*/ 121282 w 3409047"/>
              <a:gd name="connsiteY37" fmla="*/ 196166 h 1915772"/>
              <a:gd name="connsiteX38" fmla="*/ 2735 w 3409047"/>
              <a:gd name="connsiteY38" fmla="*/ 28141 h 1915772"/>
              <a:gd name="connsiteX39" fmla="*/ 16682 w 3409047"/>
              <a:gd name="connsiteY39" fmla="*/ 13439 h 1915772"/>
              <a:gd name="connsiteX40" fmla="*/ 414164 w 3409047"/>
              <a:gd name="connsiteY40" fmla="*/ 124755 h 1915772"/>
              <a:gd name="connsiteX41" fmla="*/ 933679 w 3409047"/>
              <a:gd name="connsiteY41" fmla="*/ 196166 h 1915772"/>
              <a:gd name="connsiteX42" fmla="*/ 1700750 w 3409047"/>
              <a:gd name="connsiteY42" fmla="*/ 227670 h 1915772"/>
              <a:gd name="connsiteX43" fmla="*/ 1700750 w 3409047"/>
              <a:gd name="connsiteY43" fmla="*/ 229443 h 1915772"/>
              <a:gd name="connsiteX44" fmla="*/ 1719476 w 3409047"/>
              <a:gd name="connsiteY44" fmla="*/ 220564 h 1915772"/>
              <a:gd name="connsiteX45" fmla="*/ 1753496 w 3409047"/>
              <a:gd name="connsiteY45" fmla="*/ 219514 h 1915772"/>
              <a:gd name="connsiteX46" fmla="*/ 2517638 w 3409047"/>
              <a:gd name="connsiteY46" fmla="*/ 179614 h 1915772"/>
              <a:gd name="connsiteX47" fmla="*/ 3250376 w 3409047"/>
              <a:gd name="connsiteY47" fmla="*/ 49417 h 1915772"/>
              <a:gd name="connsiteX48" fmla="*/ 3355053 w 3409047"/>
              <a:gd name="connsiteY48" fmla="*/ 13718 h 1915772"/>
              <a:gd name="connsiteX49" fmla="*/ 3407391 w 3409047"/>
              <a:gd name="connsiteY49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95471 w 3409047"/>
              <a:gd name="connsiteY29" fmla="*/ 849360 h 1915772"/>
              <a:gd name="connsiteX30" fmla="*/ 571064 w 3409047"/>
              <a:gd name="connsiteY30" fmla="*/ 826257 h 1915772"/>
              <a:gd name="connsiteX31" fmla="*/ 522251 w 3409047"/>
              <a:gd name="connsiteY31" fmla="*/ 750646 h 1915772"/>
              <a:gd name="connsiteX32" fmla="*/ 435084 w 3409047"/>
              <a:gd name="connsiteY32" fmla="*/ 637230 h 1915772"/>
              <a:gd name="connsiteX33" fmla="*/ 414164 w 3409047"/>
              <a:gd name="connsiteY33" fmla="*/ 609926 h 1915772"/>
              <a:gd name="connsiteX34" fmla="*/ 232856 w 3409047"/>
              <a:gd name="connsiteY34" fmla="*/ 359989 h 1915772"/>
              <a:gd name="connsiteX35" fmla="*/ 215423 w 3409047"/>
              <a:gd name="connsiteY35" fmla="*/ 332685 h 1915772"/>
              <a:gd name="connsiteX36" fmla="*/ 121282 w 3409047"/>
              <a:gd name="connsiteY36" fmla="*/ 196166 h 1915772"/>
              <a:gd name="connsiteX37" fmla="*/ 2735 w 3409047"/>
              <a:gd name="connsiteY37" fmla="*/ 28141 h 1915772"/>
              <a:gd name="connsiteX38" fmla="*/ 16682 w 3409047"/>
              <a:gd name="connsiteY38" fmla="*/ 13439 h 1915772"/>
              <a:gd name="connsiteX39" fmla="*/ 414164 w 3409047"/>
              <a:gd name="connsiteY39" fmla="*/ 124755 h 1915772"/>
              <a:gd name="connsiteX40" fmla="*/ 933679 w 3409047"/>
              <a:gd name="connsiteY40" fmla="*/ 196166 h 1915772"/>
              <a:gd name="connsiteX41" fmla="*/ 1700750 w 3409047"/>
              <a:gd name="connsiteY41" fmla="*/ 227670 h 1915772"/>
              <a:gd name="connsiteX42" fmla="*/ 1700750 w 3409047"/>
              <a:gd name="connsiteY42" fmla="*/ 229443 h 1915772"/>
              <a:gd name="connsiteX43" fmla="*/ 1719476 w 3409047"/>
              <a:gd name="connsiteY43" fmla="*/ 220564 h 1915772"/>
              <a:gd name="connsiteX44" fmla="*/ 1753496 w 3409047"/>
              <a:gd name="connsiteY44" fmla="*/ 219514 h 1915772"/>
              <a:gd name="connsiteX45" fmla="*/ 2517638 w 3409047"/>
              <a:gd name="connsiteY45" fmla="*/ 179614 h 1915772"/>
              <a:gd name="connsiteX46" fmla="*/ 3250376 w 3409047"/>
              <a:gd name="connsiteY46" fmla="*/ 49417 h 1915772"/>
              <a:gd name="connsiteX47" fmla="*/ 3355053 w 3409047"/>
              <a:gd name="connsiteY47" fmla="*/ 13718 h 1915772"/>
              <a:gd name="connsiteX48" fmla="*/ 3407391 w 3409047"/>
              <a:gd name="connsiteY48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95471 w 3409047"/>
              <a:gd name="connsiteY29" fmla="*/ 849360 h 1915772"/>
              <a:gd name="connsiteX30" fmla="*/ 522251 w 3409047"/>
              <a:gd name="connsiteY30" fmla="*/ 750646 h 1915772"/>
              <a:gd name="connsiteX31" fmla="*/ 435084 w 3409047"/>
              <a:gd name="connsiteY31" fmla="*/ 637230 h 1915772"/>
              <a:gd name="connsiteX32" fmla="*/ 414164 w 3409047"/>
              <a:gd name="connsiteY32" fmla="*/ 609926 h 1915772"/>
              <a:gd name="connsiteX33" fmla="*/ 232856 w 3409047"/>
              <a:gd name="connsiteY33" fmla="*/ 359989 h 1915772"/>
              <a:gd name="connsiteX34" fmla="*/ 215423 w 3409047"/>
              <a:gd name="connsiteY34" fmla="*/ 332685 h 1915772"/>
              <a:gd name="connsiteX35" fmla="*/ 121282 w 3409047"/>
              <a:gd name="connsiteY35" fmla="*/ 196166 h 1915772"/>
              <a:gd name="connsiteX36" fmla="*/ 2735 w 3409047"/>
              <a:gd name="connsiteY36" fmla="*/ 28141 h 1915772"/>
              <a:gd name="connsiteX37" fmla="*/ 16682 w 3409047"/>
              <a:gd name="connsiteY37" fmla="*/ 13439 h 1915772"/>
              <a:gd name="connsiteX38" fmla="*/ 414164 w 3409047"/>
              <a:gd name="connsiteY38" fmla="*/ 124755 h 1915772"/>
              <a:gd name="connsiteX39" fmla="*/ 933679 w 3409047"/>
              <a:gd name="connsiteY39" fmla="*/ 196166 h 1915772"/>
              <a:gd name="connsiteX40" fmla="*/ 1700750 w 3409047"/>
              <a:gd name="connsiteY40" fmla="*/ 227670 h 1915772"/>
              <a:gd name="connsiteX41" fmla="*/ 1700750 w 3409047"/>
              <a:gd name="connsiteY41" fmla="*/ 229443 h 1915772"/>
              <a:gd name="connsiteX42" fmla="*/ 1719476 w 3409047"/>
              <a:gd name="connsiteY42" fmla="*/ 220564 h 1915772"/>
              <a:gd name="connsiteX43" fmla="*/ 1753496 w 3409047"/>
              <a:gd name="connsiteY43" fmla="*/ 219514 h 1915772"/>
              <a:gd name="connsiteX44" fmla="*/ 2517638 w 3409047"/>
              <a:gd name="connsiteY44" fmla="*/ 179614 h 1915772"/>
              <a:gd name="connsiteX45" fmla="*/ 3250376 w 3409047"/>
              <a:gd name="connsiteY45" fmla="*/ 49417 h 1915772"/>
              <a:gd name="connsiteX46" fmla="*/ 3355053 w 3409047"/>
              <a:gd name="connsiteY46" fmla="*/ 13718 h 1915772"/>
              <a:gd name="connsiteX47" fmla="*/ 3407391 w 3409047"/>
              <a:gd name="connsiteY47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22251 w 3409047"/>
              <a:gd name="connsiteY29" fmla="*/ 750646 h 1915772"/>
              <a:gd name="connsiteX30" fmla="*/ 435084 w 3409047"/>
              <a:gd name="connsiteY30" fmla="*/ 637230 h 1915772"/>
              <a:gd name="connsiteX31" fmla="*/ 414164 w 3409047"/>
              <a:gd name="connsiteY31" fmla="*/ 609926 h 1915772"/>
              <a:gd name="connsiteX32" fmla="*/ 232856 w 3409047"/>
              <a:gd name="connsiteY32" fmla="*/ 359989 h 1915772"/>
              <a:gd name="connsiteX33" fmla="*/ 215423 w 3409047"/>
              <a:gd name="connsiteY33" fmla="*/ 332685 h 1915772"/>
              <a:gd name="connsiteX34" fmla="*/ 121282 w 3409047"/>
              <a:gd name="connsiteY34" fmla="*/ 196166 h 1915772"/>
              <a:gd name="connsiteX35" fmla="*/ 2735 w 3409047"/>
              <a:gd name="connsiteY35" fmla="*/ 28141 h 1915772"/>
              <a:gd name="connsiteX36" fmla="*/ 16682 w 3409047"/>
              <a:gd name="connsiteY36" fmla="*/ 13439 h 1915772"/>
              <a:gd name="connsiteX37" fmla="*/ 414164 w 3409047"/>
              <a:gd name="connsiteY37" fmla="*/ 124755 h 1915772"/>
              <a:gd name="connsiteX38" fmla="*/ 933679 w 3409047"/>
              <a:gd name="connsiteY38" fmla="*/ 196166 h 1915772"/>
              <a:gd name="connsiteX39" fmla="*/ 1700750 w 3409047"/>
              <a:gd name="connsiteY39" fmla="*/ 227670 h 1915772"/>
              <a:gd name="connsiteX40" fmla="*/ 1700750 w 3409047"/>
              <a:gd name="connsiteY40" fmla="*/ 229443 h 1915772"/>
              <a:gd name="connsiteX41" fmla="*/ 1719476 w 3409047"/>
              <a:gd name="connsiteY41" fmla="*/ 220564 h 1915772"/>
              <a:gd name="connsiteX42" fmla="*/ 1753496 w 3409047"/>
              <a:gd name="connsiteY42" fmla="*/ 219514 h 1915772"/>
              <a:gd name="connsiteX43" fmla="*/ 2517638 w 3409047"/>
              <a:gd name="connsiteY43" fmla="*/ 179614 h 1915772"/>
              <a:gd name="connsiteX44" fmla="*/ 3250376 w 3409047"/>
              <a:gd name="connsiteY44" fmla="*/ 49417 h 1915772"/>
              <a:gd name="connsiteX45" fmla="*/ 3355053 w 3409047"/>
              <a:gd name="connsiteY45" fmla="*/ 13718 h 1915772"/>
              <a:gd name="connsiteX46" fmla="*/ 3407391 w 3409047"/>
              <a:gd name="connsiteY46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435084 w 3409047"/>
              <a:gd name="connsiteY29" fmla="*/ 637230 h 1915772"/>
              <a:gd name="connsiteX30" fmla="*/ 414164 w 3409047"/>
              <a:gd name="connsiteY30" fmla="*/ 609926 h 1915772"/>
              <a:gd name="connsiteX31" fmla="*/ 232856 w 3409047"/>
              <a:gd name="connsiteY31" fmla="*/ 359989 h 1915772"/>
              <a:gd name="connsiteX32" fmla="*/ 215423 w 3409047"/>
              <a:gd name="connsiteY32" fmla="*/ 332685 h 1915772"/>
              <a:gd name="connsiteX33" fmla="*/ 121282 w 3409047"/>
              <a:gd name="connsiteY33" fmla="*/ 196166 h 1915772"/>
              <a:gd name="connsiteX34" fmla="*/ 2735 w 3409047"/>
              <a:gd name="connsiteY34" fmla="*/ 28141 h 1915772"/>
              <a:gd name="connsiteX35" fmla="*/ 16682 w 3409047"/>
              <a:gd name="connsiteY35" fmla="*/ 13439 h 1915772"/>
              <a:gd name="connsiteX36" fmla="*/ 414164 w 3409047"/>
              <a:gd name="connsiteY36" fmla="*/ 124755 h 1915772"/>
              <a:gd name="connsiteX37" fmla="*/ 933679 w 3409047"/>
              <a:gd name="connsiteY37" fmla="*/ 196166 h 1915772"/>
              <a:gd name="connsiteX38" fmla="*/ 1700750 w 3409047"/>
              <a:gd name="connsiteY38" fmla="*/ 227670 h 1915772"/>
              <a:gd name="connsiteX39" fmla="*/ 1700750 w 3409047"/>
              <a:gd name="connsiteY39" fmla="*/ 229443 h 1915772"/>
              <a:gd name="connsiteX40" fmla="*/ 1719476 w 3409047"/>
              <a:gd name="connsiteY40" fmla="*/ 220564 h 1915772"/>
              <a:gd name="connsiteX41" fmla="*/ 1753496 w 3409047"/>
              <a:gd name="connsiteY41" fmla="*/ 219514 h 1915772"/>
              <a:gd name="connsiteX42" fmla="*/ 2517638 w 3409047"/>
              <a:gd name="connsiteY42" fmla="*/ 179614 h 1915772"/>
              <a:gd name="connsiteX43" fmla="*/ 3250376 w 3409047"/>
              <a:gd name="connsiteY43" fmla="*/ 49417 h 1915772"/>
              <a:gd name="connsiteX44" fmla="*/ 3355053 w 3409047"/>
              <a:gd name="connsiteY44" fmla="*/ 13718 h 1915772"/>
              <a:gd name="connsiteX45" fmla="*/ 3407391 w 3409047"/>
              <a:gd name="connsiteY45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414164 w 3409047"/>
              <a:gd name="connsiteY29" fmla="*/ 609926 h 1915772"/>
              <a:gd name="connsiteX30" fmla="*/ 232856 w 3409047"/>
              <a:gd name="connsiteY30" fmla="*/ 359989 h 1915772"/>
              <a:gd name="connsiteX31" fmla="*/ 215423 w 3409047"/>
              <a:gd name="connsiteY31" fmla="*/ 332685 h 1915772"/>
              <a:gd name="connsiteX32" fmla="*/ 121282 w 3409047"/>
              <a:gd name="connsiteY32" fmla="*/ 196166 h 1915772"/>
              <a:gd name="connsiteX33" fmla="*/ 2735 w 3409047"/>
              <a:gd name="connsiteY33" fmla="*/ 28141 h 1915772"/>
              <a:gd name="connsiteX34" fmla="*/ 16682 w 3409047"/>
              <a:gd name="connsiteY34" fmla="*/ 13439 h 1915772"/>
              <a:gd name="connsiteX35" fmla="*/ 414164 w 3409047"/>
              <a:gd name="connsiteY35" fmla="*/ 124755 h 1915772"/>
              <a:gd name="connsiteX36" fmla="*/ 933679 w 3409047"/>
              <a:gd name="connsiteY36" fmla="*/ 196166 h 1915772"/>
              <a:gd name="connsiteX37" fmla="*/ 1700750 w 3409047"/>
              <a:gd name="connsiteY37" fmla="*/ 227670 h 1915772"/>
              <a:gd name="connsiteX38" fmla="*/ 1700750 w 3409047"/>
              <a:gd name="connsiteY38" fmla="*/ 229443 h 1915772"/>
              <a:gd name="connsiteX39" fmla="*/ 1719476 w 3409047"/>
              <a:gd name="connsiteY39" fmla="*/ 220564 h 1915772"/>
              <a:gd name="connsiteX40" fmla="*/ 1753496 w 3409047"/>
              <a:gd name="connsiteY40" fmla="*/ 219514 h 1915772"/>
              <a:gd name="connsiteX41" fmla="*/ 2517638 w 3409047"/>
              <a:gd name="connsiteY41" fmla="*/ 179614 h 1915772"/>
              <a:gd name="connsiteX42" fmla="*/ 3250376 w 3409047"/>
              <a:gd name="connsiteY42" fmla="*/ 49417 h 1915772"/>
              <a:gd name="connsiteX43" fmla="*/ 3355053 w 3409047"/>
              <a:gd name="connsiteY43" fmla="*/ 13718 h 1915772"/>
              <a:gd name="connsiteX44" fmla="*/ 3407391 w 3409047"/>
              <a:gd name="connsiteY44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232856 w 3409047"/>
              <a:gd name="connsiteY29" fmla="*/ 359989 h 1915772"/>
              <a:gd name="connsiteX30" fmla="*/ 215423 w 3409047"/>
              <a:gd name="connsiteY30" fmla="*/ 332685 h 1915772"/>
              <a:gd name="connsiteX31" fmla="*/ 121282 w 3409047"/>
              <a:gd name="connsiteY31" fmla="*/ 196166 h 1915772"/>
              <a:gd name="connsiteX32" fmla="*/ 2735 w 3409047"/>
              <a:gd name="connsiteY32" fmla="*/ 28141 h 1915772"/>
              <a:gd name="connsiteX33" fmla="*/ 16682 w 3409047"/>
              <a:gd name="connsiteY33" fmla="*/ 13439 h 1915772"/>
              <a:gd name="connsiteX34" fmla="*/ 414164 w 3409047"/>
              <a:gd name="connsiteY34" fmla="*/ 124755 h 1915772"/>
              <a:gd name="connsiteX35" fmla="*/ 933679 w 3409047"/>
              <a:gd name="connsiteY35" fmla="*/ 196166 h 1915772"/>
              <a:gd name="connsiteX36" fmla="*/ 1700750 w 3409047"/>
              <a:gd name="connsiteY36" fmla="*/ 227670 h 1915772"/>
              <a:gd name="connsiteX37" fmla="*/ 1700750 w 3409047"/>
              <a:gd name="connsiteY37" fmla="*/ 229443 h 1915772"/>
              <a:gd name="connsiteX38" fmla="*/ 1719476 w 3409047"/>
              <a:gd name="connsiteY38" fmla="*/ 220564 h 1915772"/>
              <a:gd name="connsiteX39" fmla="*/ 1753496 w 3409047"/>
              <a:gd name="connsiteY39" fmla="*/ 219514 h 1915772"/>
              <a:gd name="connsiteX40" fmla="*/ 2517638 w 3409047"/>
              <a:gd name="connsiteY40" fmla="*/ 179614 h 1915772"/>
              <a:gd name="connsiteX41" fmla="*/ 3250376 w 3409047"/>
              <a:gd name="connsiteY41" fmla="*/ 49417 h 1915772"/>
              <a:gd name="connsiteX42" fmla="*/ 3355053 w 3409047"/>
              <a:gd name="connsiteY42" fmla="*/ 13718 h 1915772"/>
              <a:gd name="connsiteX43" fmla="*/ 3407391 w 3409047"/>
              <a:gd name="connsiteY43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215423 w 3409047"/>
              <a:gd name="connsiteY29" fmla="*/ 332685 h 1915772"/>
              <a:gd name="connsiteX30" fmla="*/ 121282 w 3409047"/>
              <a:gd name="connsiteY30" fmla="*/ 196166 h 1915772"/>
              <a:gd name="connsiteX31" fmla="*/ 2735 w 3409047"/>
              <a:gd name="connsiteY31" fmla="*/ 28141 h 1915772"/>
              <a:gd name="connsiteX32" fmla="*/ 16682 w 3409047"/>
              <a:gd name="connsiteY32" fmla="*/ 13439 h 1915772"/>
              <a:gd name="connsiteX33" fmla="*/ 414164 w 3409047"/>
              <a:gd name="connsiteY33" fmla="*/ 124755 h 1915772"/>
              <a:gd name="connsiteX34" fmla="*/ 933679 w 3409047"/>
              <a:gd name="connsiteY34" fmla="*/ 196166 h 1915772"/>
              <a:gd name="connsiteX35" fmla="*/ 1700750 w 3409047"/>
              <a:gd name="connsiteY35" fmla="*/ 227670 h 1915772"/>
              <a:gd name="connsiteX36" fmla="*/ 1700750 w 3409047"/>
              <a:gd name="connsiteY36" fmla="*/ 229443 h 1915772"/>
              <a:gd name="connsiteX37" fmla="*/ 1719476 w 3409047"/>
              <a:gd name="connsiteY37" fmla="*/ 220564 h 1915772"/>
              <a:gd name="connsiteX38" fmla="*/ 1753496 w 3409047"/>
              <a:gd name="connsiteY38" fmla="*/ 219514 h 1915772"/>
              <a:gd name="connsiteX39" fmla="*/ 2517638 w 3409047"/>
              <a:gd name="connsiteY39" fmla="*/ 179614 h 1915772"/>
              <a:gd name="connsiteX40" fmla="*/ 3250376 w 3409047"/>
              <a:gd name="connsiteY40" fmla="*/ 49417 h 1915772"/>
              <a:gd name="connsiteX41" fmla="*/ 3355053 w 3409047"/>
              <a:gd name="connsiteY41" fmla="*/ 13718 h 1915772"/>
              <a:gd name="connsiteX42" fmla="*/ 3407391 w 3409047"/>
              <a:gd name="connsiteY42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121282 w 3409047"/>
              <a:gd name="connsiteY29" fmla="*/ 196166 h 1915772"/>
              <a:gd name="connsiteX30" fmla="*/ 2735 w 3409047"/>
              <a:gd name="connsiteY30" fmla="*/ 28141 h 1915772"/>
              <a:gd name="connsiteX31" fmla="*/ 16682 w 3409047"/>
              <a:gd name="connsiteY31" fmla="*/ 13439 h 1915772"/>
              <a:gd name="connsiteX32" fmla="*/ 414164 w 3409047"/>
              <a:gd name="connsiteY32" fmla="*/ 124755 h 1915772"/>
              <a:gd name="connsiteX33" fmla="*/ 933679 w 3409047"/>
              <a:gd name="connsiteY33" fmla="*/ 196166 h 1915772"/>
              <a:gd name="connsiteX34" fmla="*/ 1700750 w 3409047"/>
              <a:gd name="connsiteY34" fmla="*/ 227670 h 1915772"/>
              <a:gd name="connsiteX35" fmla="*/ 1700750 w 3409047"/>
              <a:gd name="connsiteY35" fmla="*/ 229443 h 1915772"/>
              <a:gd name="connsiteX36" fmla="*/ 1719476 w 3409047"/>
              <a:gd name="connsiteY36" fmla="*/ 220564 h 1915772"/>
              <a:gd name="connsiteX37" fmla="*/ 1753496 w 3409047"/>
              <a:gd name="connsiteY37" fmla="*/ 219514 h 1915772"/>
              <a:gd name="connsiteX38" fmla="*/ 2517638 w 3409047"/>
              <a:gd name="connsiteY38" fmla="*/ 179614 h 1915772"/>
              <a:gd name="connsiteX39" fmla="*/ 3250376 w 3409047"/>
              <a:gd name="connsiteY39" fmla="*/ 49417 h 1915772"/>
              <a:gd name="connsiteX40" fmla="*/ 3355053 w 3409047"/>
              <a:gd name="connsiteY40" fmla="*/ 13718 h 1915772"/>
              <a:gd name="connsiteX41" fmla="*/ 3407391 w 3409047"/>
              <a:gd name="connsiteY41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2735 w 3409047"/>
              <a:gd name="connsiteY29" fmla="*/ 28141 h 1915772"/>
              <a:gd name="connsiteX30" fmla="*/ 16682 w 3409047"/>
              <a:gd name="connsiteY30" fmla="*/ 13439 h 1915772"/>
              <a:gd name="connsiteX31" fmla="*/ 414164 w 3409047"/>
              <a:gd name="connsiteY31" fmla="*/ 124755 h 1915772"/>
              <a:gd name="connsiteX32" fmla="*/ 933679 w 3409047"/>
              <a:gd name="connsiteY32" fmla="*/ 196166 h 1915772"/>
              <a:gd name="connsiteX33" fmla="*/ 1700750 w 3409047"/>
              <a:gd name="connsiteY33" fmla="*/ 227670 h 1915772"/>
              <a:gd name="connsiteX34" fmla="*/ 1700750 w 3409047"/>
              <a:gd name="connsiteY34" fmla="*/ 229443 h 1915772"/>
              <a:gd name="connsiteX35" fmla="*/ 1719476 w 3409047"/>
              <a:gd name="connsiteY35" fmla="*/ 220564 h 1915772"/>
              <a:gd name="connsiteX36" fmla="*/ 1753496 w 3409047"/>
              <a:gd name="connsiteY36" fmla="*/ 219514 h 1915772"/>
              <a:gd name="connsiteX37" fmla="*/ 2517638 w 3409047"/>
              <a:gd name="connsiteY37" fmla="*/ 179614 h 1915772"/>
              <a:gd name="connsiteX38" fmla="*/ 3250376 w 3409047"/>
              <a:gd name="connsiteY38" fmla="*/ 49417 h 1915772"/>
              <a:gd name="connsiteX39" fmla="*/ 3355053 w 3409047"/>
              <a:gd name="connsiteY39" fmla="*/ 13718 h 1915772"/>
              <a:gd name="connsiteX40" fmla="*/ 3407391 w 3409047"/>
              <a:gd name="connsiteY40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60844 w 3409047"/>
              <a:gd name="connsiteY2" fmla="*/ 219514 h 1915772"/>
              <a:gd name="connsiteX3" fmla="*/ 2967748 w 3409047"/>
              <a:gd name="connsiteY3" fmla="*/ 624805 h 1915772"/>
              <a:gd name="connsiteX4" fmla="*/ 2779330 w 3409047"/>
              <a:gd name="connsiteY4" fmla="*/ 883100 h 1915772"/>
              <a:gd name="connsiteX5" fmla="*/ 2768862 w 3409047"/>
              <a:gd name="connsiteY5" fmla="*/ 908300 h 1915772"/>
              <a:gd name="connsiteX6" fmla="*/ 2664185 w 3409047"/>
              <a:gd name="connsiteY6" fmla="*/ 1046897 h 1915772"/>
              <a:gd name="connsiteX7" fmla="*/ 2643250 w 3409047"/>
              <a:gd name="connsiteY7" fmla="*/ 1072096 h 1915772"/>
              <a:gd name="connsiteX8" fmla="*/ 2531595 w 3409047"/>
              <a:gd name="connsiteY8" fmla="*/ 1219093 h 1915772"/>
              <a:gd name="connsiteX9" fmla="*/ 2332708 w 3409047"/>
              <a:gd name="connsiteY9" fmla="*/ 1492088 h 1915772"/>
              <a:gd name="connsiteX10" fmla="*/ 2318751 w 3409047"/>
              <a:gd name="connsiteY10" fmla="*/ 1538287 h 1915772"/>
              <a:gd name="connsiteX11" fmla="*/ 2318751 w 3409047"/>
              <a:gd name="connsiteY11" fmla="*/ 1800782 h 1915772"/>
              <a:gd name="connsiteX12" fmla="*/ 2221053 w 3409047"/>
              <a:gd name="connsiteY12" fmla="*/ 1878480 h 1915772"/>
              <a:gd name="connsiteX13" fmla="*/ 2015188 w 3409047"/>
              <a:gd name="connsiteY13" fmla="*/ 1909979 h 1915772"/>
              <a:gd name="connsiteX14" fmla="*/ 1690690 w 3409047"/>
              <a:gd name="connsiteY14" fmla="*/ 1914179 h 1915772"/>
              <a:gd name="connsiteX15" fmla="*/ 1690509 w 3409047"/>
              <a:gd name="connsiteY15" fmla="*/ 1913790 h 1915772"/>
              <a:gd name="connsiteX16" fmla="*/ 1690289 w 3409047"/>
              <a:gd name="connsiteY16" fmla="*/ 1914215 h 1915772"/>
              <a:gd name="connsiteX17" fmla="*/ 1414841 w 3409047"/>
              <a:gd name="connsiteY17" fmla="*/ 1907914 h 1915772"/>
              <a:gd name="connsiteX18" fmla="*/ 1386948 w 3409047"/>
              <a:gd name="connsiteY18" fmla="*/ 1910014 h 1915772"/>
              <a:gd name="connsiteX19" fmla="*/ 1198667 w 3409047"/>
              <a:gd name="connsiteY19" fmla="*/ 1880610 h 1915772"/>
              <a:gd name="connsiteX20" fmla="*/ 1114987 w 3409047"/>
              <a:gd name="connsiteY20" fmla="*/ 1859607 h 1915772"/>
              <a:gd name="connsiteX21" fmla="*/ 1073146 w 3409047"/>
              <a:gd name="connsiteY21" fmla="*/ 1815500 h 1915772"/>
              <a:gd name="connsiteX22" fmla="*/ 1073146 w 3409047"/>
              <a:gd name="connsiteY22" fmla="*/ 1733588 h 1915772"/>
              <a:gd name="connsiteX23" fmla="*/ 1073146 w 3409047"/>
              <a:gd name="connsiteY23" fmla="*/ 1708385 h 1915772"/>
              <a:gd name="connsiteX24" fmla="*/ 1073146 w 3409047"/>
              <a:gd name="connsiteY24" fmla="*/ 1544561 h 1915772"/>
              <a:gd name="connsiteX25" fmla="*/ 1073146 w 3409047"/>
              <a:gd name="connsiteY25" fmla="*/ 1519357 h 1915772"/>
              <a:gd name="connsiteX26" fmla="*/ 958086 w 3409047"/>
              <a:gd name="connsiteY26" fmla="*/ 1355534 h 1915772"/>
              <a:gd name="connsiteX27" fmla="*/ 825592 w 3409047"/>
              <a:gd name="connsiteY27" fmla="*/ 1170707 h 1915772"/>
              <a:gd name="connsiteX28" fmla="*/ 2735 w 3409047"/>
              <a:gd name="connsiteY28" fmla="*/ 28141 h 1915772"/>
              <a:gd name="connsiteX29" fmla="*/ 16682 w 3409047"/>
              <a:gd name="connsiteY29" fmla="*/ 13439 h 1915772"/>
              <a:gd name="connsiteX30" fmla="*/ 414164 w 3409047"/>
              <a:gd name="connsiteY30" fmla="*/ 124755 h 1915772"/>
              <a:gd name="connsiteX31" fmla="*/ 933679 w 3409047"/>
              <a:gd name="connsiteY31" fmla="*/ 196166 h 1915772"/>
              <a:gd name="connsiteX32" fmla="*/ 1700750 w 3409047"/>
              <a:gd name="connsiteY32" fmla="*/ 227670 h 1915772"/>
              <a:gd name="connsiteX33" fmla="*/ 1700750 w 3409047"/>
              <a:gd name="connsiteY33" fmla="*/ 229443 h 1915772"/>
              <a:gd name="connsiteX34" fmla="*/ 1719476 w 3409047"/>
              <a:gd name="connsiteY34" fmla="*/ 220564 h 1915772"/>
              <a:gd name="connsiteX35" fmla="*/ 1753496 w 3409047"/>
              <a:gd name="connsiteY35" fmla="*/ 219514 h 1915772"/>
              <a:gd name="connsiteX36" fmla="*/ 2517638 w 3409047"/>
              <a:gd name="connsiteY36" fmla="*/ 179614 h 1915772"/>
              <a:gd name="connsiteX37" fmla="*/ 3250376 w 3409047"/>
              <a:gd name="connsiteY37" fmla="*/ 49417 h 1915772"/>
              <a:gd name="connsiteX38" fmla="*/ 3355053 w 3409047"/>
              <a:gd name="connsiteY38" fmla="*/ 13718 h 1915772"/>
              <a:gd name="connsiteX39" fmla="*/ 3407391 w 3409047"/>
              <a:gd name="connsiteY39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967748 w 3409047"/>
              <a:gd name="connsiteY2" fmla="*/ 624805 h 1915772"/>
              <a:gd name="connsiteX3" fmla="*/ 2779330 w 3409047"/>
              <a:gd name="connsiteY3" fmla="*/ 883100 h 1915772"/>
              <a:gd name="connsiteX4" fmla="*/ 2768862 w 3409047"/>
              <a:gd name="connsiteY4" fmla="*/ 908300 h 1915772"/>
              <a:gd name="connsiteX5" fmla="*/ 2664185 w 3409047"/>
              <a:gd name="connsiteY5" fmla="*/ 1046897 h 1915772"/>
              <a:gd name="connsiteX6" fmla="*/ 2643250 w 3409047"/>
              <a:gd name="connsiteY6" fmla="*/ 1072096 h 1915772"/>
              <a:gd name="connsiteX7" fmla="*/ 2531595 w 3409047"/>
              <a:gd name="connsiteY7" fmla="*/ 1219093 h 1915772"/>
              <a:gd name="connsiteX8" fmla="*/ 2332708 w 3409047"/>
              <a:gd name="connsiteY8" fmla="*/ 1492088 h 1915772"/>
              <a:gd name="connsiteX9" fmla="*/ 2318751 w 3409047"/>
              <a:gd name="connsiteY9" fmla="*/ 1538287 h 1915772"/>
              <a:gd name="connsiteX10" fmla="*/ 2318751 w 3409047"/>
              <a:gd name="connsiteY10" fmla="*/ 1800782 h 1915772"/>
              <a:gd name="connsiteX11" fmla="*/ 2221053 w 3409047"/>
              <a:gd name="connsiteY11" fmla="*/ 1878480 h 1915772"/>
              <a:gd name="connsiteX12" fmla="*/ 2015188 w 3409047"/>
              <a:gd name="connsiteY12" fmla="*/ 1909979 h 1915772"/>
              <a:gd name="connsiteX13" fmla="*/ 1690690 w 3409047"/>
              <a:gd name="connsiteY13" fmla="*/ 1914179 h 1915772"/>
              <a:gd name="connsiteX14" fmla="*/ 1690509 w 3409047"/>
              <a:gd name="connsiteY14" fmla="*/ 1913790 h 1915772"/>
              <a:gd name="connsiteX15" fmla="*/ 1690289 w 3409047"/>
              <a:gd name="connsiteY15" fmla="*/ 1914215 h 1915772"/>
              <a:gd name="connsiteX16" fmla="*/ 1414841 w 3409047"/>
              <a:gd name="connsiteY16" fmla="*/ 1907914 h 1915772"/>
              <a:gd name="connsiteX17" fmla="*/ 1386948 w 3409047"/>
              <a:gd name="connsiteY17" fmla="*/ 1910014 h 1915772"/>
              <a:gd name="connsiteX18" fmla="*/ 1198667 w 3409047"/>
              <a:gd name="connsiteY18" fmla="*/ 1880610 h 1915772"/>
              <a:gd name="connsiteX19" fmla="*/ 1114987 w 3409047"/>
              <a:gd name="connsiteY19" fmla="*/ 1859607 h 1915772"/>
              <a:gd name="connsiteX20" fmla="*/ 1073146 w 3409047"/>
              <a:gd name="connsiteY20" fmla="*/ 1815500 h 1915772"/>
              <a:gd name="connsiteX21" fmla="*/ 1073146 w 3409047"/>
              <a:gd name="connsiteY21" fmla="*/ 1733588 h 1915772"/>
              <a:gd name="connsiteX22" fmla="*/ 1073146 w 3409047"/>
              <a:gd name="connsiteY22" fmla="*/ 1708385 h 1915772"/>
              <a:gd name="connsiteX23" fmla="*/ 1073146 w 3409047"/>
              <a:gd name="connsiteY23" fmla="*/ 1544561 h 1915772"/>
              <a:gd name="connsiteX24" fmla="*/ 1073146 w 3409047"/>
              <a:gd name="connsiteY24" fmla="*/ 1519357 h 1915772"/>
              <a:gd name="connsiteX25" fmla="*/ 958086 w 3409047"/>
              <a:gd name="connsiteY25" fmla="*/ 1355534 h 1915772"/>
              <a:gd name="connsiteX26" fmla="*/ 825592 w 3409047"/>
              <a:gd name="connsiteY26" fmla="*/ 1170707 h 1915772"/>
              <a:gd name="connsiteX27" fmla="*/ 2735 w 3409047"/>
              <a:gd name="connsiteY27" fmla="*/ 28141 h 1915772"/>
              <a:gd name="connsiteX28" fmla="*/ 16682 w 3409047"/>
              <a:gd name="connsiteY28" fmla="*/ 13439 h 1915772"/>
              <a:gd name="connsiteX29" fmla="*/ 414164 w 3409047"/>
              <a:gd name="connsiteY29" fmla="*/ 124755 h 1915772"/>
              <a:gd name="connsiteX30" fmla="*/ 933679 w 3409047"/>
              <a:gd name="connsiteY30" fmla="*/ 196166 h 1915772"/>
              <a:gd name="connsiteX31" fmla="*/ 1700750 w 3409047"/>
              <a:gd name="connsiteY31" fmla="*/ 227670 h 1915772"/>
              <a:gd name="connsiteX32" fmla="*/ 1700750 w 3409047"/>
              <a:gd name="connsiteY32" fmla="*/ 229443 h 1915772"/>
              <a:gd name="connsiteX33" fmla="*/ 1719476 w 3409047"/>
              <a:gd name="connsiteY33" fmla="*/ 220564 h 1915772"/>
              <a:gd name="connsiteX34" fmla="*/ 1753496 w 3409047"/>
              <a:gd name="connsiteY34" fmla="*/ 219514 h 1915772"/>
              <a:gd name="connsiteX35" fmla="*/ 2517638 w 3409047"/>
              <a:gd name="connsiteY35" fmla="*/ 179614 h 1915772"/>
              <a:gd name="connsiteX36" fmla="*/ 3250376 w 3409047"/>
              <a:gd name="connsiteY36" fmla="*/ 49417 h 1915772"/>
              <a:gd name="connsiteX37" fmla="*/ 3355053 w 3409047"/>
              <a:gd name="connsiteY37" fmla="*/ 13718 h 1915772"/>
              <a:gd name="connsiteX38" fmla="*/ 3407391 w 3409047"/>
              <a:gd name="connsiteY38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779330 w 3409047"/>
              <a:gd name="connsiteY2" fmla="*/ 883100 h 1915772"/>
              <a:gd name="connsiteX3" fmla="*/ 2768862 w 3409047"/>
              <a:gd name="connsiteY3" fmla="*/ 908300 h 1915772"/>
              <a:gd name="connsiteX4" fmla="*/ 2664185 w 3409047"/>
              <a:gd name="connsiteY4" fmla="*/ 1046897 h 1915772"/>
              <a:gd name="connsiteX5" fmla="*/ 2643250 w 3409047"/>
              <a:gd name="connsiteY5" fmla="*/ 1072096 h 1915772"/>
              <a:gd name="connsiteX6" fmla="*/ 2531595 w 3409047"/>
              <a:gd name="connsiteY6" fmla="*/ 1219093 h 1915772"/>
              <a:gd name="connsiteX7" fmla="*/ 2332708 w 3409047"/>
              <a:gd name="connsiteY7" fmla="*/ 1492088 h 1915772"/>
              <a:gd name="connsiteX8" fmla="*/ 2318751 w 3409047"/>
              <a:gd name="connsiteY8" fmla="*/ 1538287 h 1915772"/>
              <a:gd name="connsiteX9" fmla="*/ 2318751 w 3409047"/>
              <a:gd name="connsiteY9" fmla="*/ 1800782 h 1915772"/>
              <a:gd name="connsiteX10" fmla="*/ 2221053 w 3409047"/>
              <a:gd name="connsiteY10" fmla="*/ 1878480 h 1915772"/>
              <a:gd name="connsiteX11" fmla="*/ 2015188 w 3409047"/>
              <a:gd name="connsiteY11" fmla="*/ 1909979 h 1915772"/>
              <a:gd name="connsiteX12" fmla="*/ 1690690 w 3409047"/>
              <a:gd name="connsiteY12" fmla="*/ 1914179 h 1915772"/>
              <a:gd name="connsiteX13" fmla="*/ 1690509 w 3409047"/>
              <a:gd name="connsiteY13" fmla="*/ 1913790 h 1915772"/>
              <a:gd name="connsiteX14" fmla="*/ 1690289 w 3409047"/>
              <a:gd name="connsiteY14" fmla="*/ 1914215 h 1915772"/>
              <a:gd name="connsiteX15" fmla="*/ 1414841 w 3409047"/>
              <a:gd name="connsiteY15" fmla="*/ 1907914 h 1915772"/>
              <a:gd name="connsiteX16" fmla="*/ 1386948 w 3409047"/>
              <a:gd name="connsiteY16" fmla="*/ 1910014 h 1915772"/>
              <a:gd name="connsiteX17" fmla="*/ 1198667 w 3409047"/>
              <a:gd name="connsiteY17" fmla="*/ 1880610 h 1915772"/>
              <a:gd name="connsiteX18" fmla="*/ 1114987 w 3409047"/>
              <a:gd name="connsiteY18" fmla="*/ 1859607 h 1915772"/>
              <a:gd name="connsiteX19" fmla="*/ 1073146 w 3409047"/>
              <a:gd name="connsiteY19" fmla="*/ 1815500 h 1915772"/>
              <a:gd name="connsiteX20" fmla="*/ 1073146 w 3409047"/>
              <a:gd name="connsiteY20" fmla="*/ 1733588 h 1915772"/>
              <a:gd name="connsiteX21" fmla="*/ 1073146 w 3409047"/>
              <a:gd name="connsiteY21" fmla="*/ 1708385 h 1915772"/>
              <a:gd name="connsiteX22" fmla="*/ 1073146 w 3409047"/>
              <a:gd name="connsiteY22" fmla="*/ 1544561 h 1915772"/>
              <a:gd name="connsiteX23" fmla="*/ 1073146 w 3409047"/>
              <a:gd name="connsiteY23" fmla="*/ 1519357 h 1915772"/>
              <a:gd name="connsiteX24" fmla="*/ 958086 w 3409047"/>
              <a:gd name="connsiteY24" fmla="*/ 1355534 h 1915772"/>
              <a:gd name="connsiteX25" fmla="*/ 825592 w 3409047"/>
              <a:gd name="connsiteY25" fmla="*/ 1170707 h 1915772"/>
              <a:gd name="connsiteX26" fmla="*/ 2735 w 3409047"/>
              <a:gd name="connsiteY26" fmla="*/ 28141 h 1915772"/>
              <a:gd name="connsiteX27" fmla="*/ 16682 w 3409047"/>
              <a:gd name="connsiteY27" fmla="*/ 13439 h 1915772"/>
              <a:gd name="connsiteX28" fmla="*/ 414164 w 3409047"/>
              <a:gd name="connsiteY28" fmla="*/ 124755 h 1915772"/>
              <a:gd name="connsiteX29" fmla="*/ 933679 w 3409047"/>
              <a:gd name="connsiteY29" fmla="*/ 196166 h 1915772"/>
              <a:gd name="connsiteX30" fmla="*/ 1700750 w 3409047"/>
              <a:gd name="connsiteY30" fmla="*/ 227670 h 1915772"/>
              <a:gd name="connsiteX31" fmla="*/ 1700750 w 3409047"/>
              <a:gd name="connsiteY31" fmla="*/ 229443 h 1915772"/>
              <a:gd name="connsiteX32" fmla="*/ 1719476 w 3409047"/>
              <a:gd name="connsiteY32" fmla="*/ 220564 h 1915772"/>
              <a:gd name="connsiteX33" fmla="*/ 1753496 w 3409047"/>
              <a:gd name="connsiteY33" fmla="*/ 219514 h 1915772"/>
              <a:gd name="connsiteX34" fmla="*/ 2517638 w 3409047"/>
              <a:gd name="connsiteY34" fmla="*/ 179614 h 1915772"/>
              <a:gd name="connsiteX35" fmla="*/ 3250376 w 3409047"/>
              <a:gd name="connsiteY35" fmla="*/ 49417 h 1915772"/>
              <a:gd name="connsiteX36" fmla="*/ 3355053 w 3409047"/>
              <a:gd name="connsiteY36" fmla="*/ 13718 h 1915772"/>
              <a:gd name="connsiteX37" fmla="*/ 3407391 w 3409047"/>
              <a:gd name="connsiteY37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768862 w 3409047"/>
              <a:gd name="connsiteY2" fmla="*/ 908300 h 1915772"/>
              <a:gd name="connsiteX3" fmla="*/ 2664185 w 3409047"/>
              <a:gd name="connsiteY3" fmla="*/ 1046897 h 1915772"/>
              <a:gd name="connsiteX4" fmla="*/ 2643250 w 3409047"/>
              <a:gd name="connsiteY4" fmla="*/ 1072096 h 1915772"/>
              <a:gd name="connsiteX5" fmla="*/ 2531595 w 3409047"/>
              <a:gd name="connsiteY5" fmla="*/ 1219093 h 1915772"/>
              <a:gd name="connsiteX6" fmla="*/ 2332708 w 3409047"/>
              <a:gd name="connsiteY6" fmla="*/ 1492088 h 1915772"/>
              <a:gd name="connsiteX7" fmla="*/ 2318751 w 3409047"/>
              <a:gd name="connsiteY7" fmla="*/ 1538287 h 1915772"/>
              <a:gd name="connsiteX8" fmla="*/ 2318751 w 3409047"/>
              <a:gd name="connsiteY8" fmla="*/ 1800782 h 1915772"/>
              <a:gd name="connsiteX9" fmla="*/ 2221053 w 3409047"/>
              <a:gd name="connsiteY9" fmla="*/ 1878480 h 1915772"/>
              <a:gd name="connsiteX10" fmla="*/ 2015188 w 3409047"/>
              <a:gd name="connsiteY10" fmla="*/ 1909979 h 1915772"/>
              <a:gd name="connsiteX11" fmla="*/ 1690690 w 3409047"/>
              <a:gd name="connsiteY11" fmla="*/ 1914179 h 1915772"/>
              <a:gd name="connsiteX12" fmla="*/ 1690509 w 3409047"/>
              <a:gd name="connsiteY12" fmla="*/ 1913790 h 1915772"/>
              <a:gd name="connsiteX13" fmla="*/ 1690289 w 3409047"/>
              <a:gd name="connsiteY13" fmla="*/ 1914215 h 1915772"/>
              <a:gd name="connsiteX14" fmla="*/ 1414841 w 3409047"/>
              <a:gd name="connsiteY14" fmla="*/ 1907914 h 1915772"/>
              <a:gd name="connsiteX15" fmla="*/ 1386948 w 3409047"/>
              <a:gd name="connsiteY15" fmla="*/ 1910014 h 1915772"/>
              <a:gd name="connsiteX16" fmla="*/ 1198667 w 3409047"/>
              <a:gd name="connsiteY16" fmla="*/ 1880610 h 1915772"/>
              <a:gd name="connsiteX17" fmla="*/ 1114987 w 3409047"/>
              <a:gd name="connsiteY17" fmla="*/ 1859607 h 1915772"/>
              <a:gd name="connsiteX18" fmla="*/ 1073146 w 3409047"/>
              <a:gd name="connsiteY18" fmla="*/ 1815500 h 1915772"/>
              <a:gd name="connsiteX19" fmla="*/ 1073146 w 3409047"/>
              <a:gd name="connsiteY19" fmla="*/ 1733588 h 1915772"/>
              <a:gd name="connsiteX20" fmla="*/ 1073146 w 3409047"/>
              <a:gd name="connsiteY20" fmla="*/ 1708385 h 1915772"/>
              <a:gd name="connsiteX21" fmla="*/ 1073146 w 3409047"/>
              <a:gd name="connsiteY21" fmla="*/ 1544561 h 1915772"/>
              <a:gd name="connsiteX22" fmla="*/ 1073146 w 3409047"/>
              <a:gd name="connsiteY22" fmla="*/ 1519357 h 1915772"/>
              <a:gd name="connsiteX23" fmla="*/ 958086 w 3409047"/>
              <a:gd name="connsiteY23" fmla="*/ 1355534 h 1915772"/>
              <a:gd name="connsiteX24" fmla="*/ 825592 w 3409047"/>
              <a:gd name="connsiteY24" fmla="*/ 1170707 h 1915772"/>
              <a:gd name="connsiteX25" fmla="*/ 2735 w 3409047"/>
              <a:gd name="connsiteY25" fmla="*/ 28141 h 1915772"/>
              <a:gd name="connsiteX26" fmla="*/ 16682 w 3409047"/>
              <a:gd name="connsiteY26" fmla="*/ 13439 h 1915772"/>
              <a:gd name="connsiteX27" fmla="*/ 414164 w 3409047"/>
              <a:gd name="connsiteY27" fmla="*/ 124755 h 1915772"/>
              <a:gd name="connsiteX28" fmla="*/ 933679 w 3409047"/>
              <a:gd name="connsiteY28" fmla="*/ 196166 h 1915772"/>
              <a:gd name="connsiteX29" fmla="*/ 1700750 w 3409047"/>
              <a:gd name="connsiteY29" fmla="*/ 227670 h 1915772"/>
              <a:gd name="connsiteX30" fmla="*/ 1700750 w 3409047"/>
              <a:gd name="connsiteY30" fmla="*/ 229443 h 1915772"/>
              <a:gd name="connsiteX31" fmla="*/ 1719476 w 3409047"/>
              <a:gd name="connsiteY31" fmla="*/ 220564 h 1915772"/>
              <a:gd name="connsiteX32" fmla="*/ 1753496 w 3409047"/>
              <a:gd name="connsiteY32" fmla="*/ 219514 h 1915772"/>
              <a:gd name="connsiteX33" fmla="*/ 2517638 w 3409047"/>
              <a:gd name="connsiteY33" fmla="*/ 179614 h 1915772"/>
              <a:gd name="connsiteX34" fmla="*/ 3250376 w 3409047"/>
              <a:gd name="connsiteY34" fmla="*/ 49417 h 1915772"/>
              <a:gd name="connsiteX35" fmla="*/ 3355053 w 3409047"/>
              <a:gd name="connsiteY35" fmla="*/ 13718 h 1915772"/>
              <a:gd name="connsiteX36" fmla="*/ 3407391 w 3409047"/>
              <a:gd name="connsiteY36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664185 w 3409047"/>
              <a:gd name="connsiteY2" fmla="*/ 1046897 h 1915772"/>
              <a:gd name="connsiteX3" fmla="*/ 2643250 w 3409047"/>
              <a:gd name="connsiteY3" fmla="*/ 1072096 h 1915772"/>
              <a:gd name="connsiteX4" fmla="*/ 2531595 w 3409047"/>
              <a:gd name="connsiteY4" fmla="*/ 1219093 h 1915772"/>
              <a:gd name="connsiteX5" fmla="*/ 2332708 w 3409047"/>
              <a:gd name="connsiteY5" fmla="*/ 1492088 h 1915772"/>
              <a:gd name="connsiteX6" fmla="*/ 2318751 w 3409047"/>
              <a:gd name="connsiteY6" fmla="*/ 1538287 h 1915772"/>
              <a:gd name="connsiteX7" fmla="*/ 2318751 w 3409047"/>
              <a:gd name="connsiteY7" fmla="*/ 1800782 h 1915772"/>
              <a:gd name="connsiteX8" fmla="*/ 2221053 w 3409047"/>
              <a:gd name="connsiteY8" fmla="*/ 1878480 h 1915772"/>
              <a:gd name="connsiteX9" fmla="*/ 2015188 w 3409047"/>
              <a:gd name="connsiteY9" fmla="*/ 1909979 h 1915772"/>
              <a:gd name="connsiteX10" fmla="*/ 1690690 w 3409047"/>
              <a:gd name="connsiteY10" fmla="*/ 1914179 h 1915772"/>
              <a:gd name="connsiteX11" fmla="*/ 1690509 w 3409047"/>
              <a:gd name="connsiteY11" fmla="*/ 1913790 h 1915772"/>
              <a:gd name="connsiteX12" fmla="*/ 1690289 w 3409047"/>
              <a:gd name="connsiteY12" fmla="*/ 1914215 h 1915772"/>
              <a:gd name="connsiteX13" fmla="*/ 1414841 w 3409047"/>
              <a:gd name="connsiteY13" fmla="*/ 1907914 h 1915772"/>
              <a:gd name="connsiteX14" fmla="*/ 1386948 w 3409047"/>
              <a:gd name="connsiteY14" fmla="*/ 1910014 h 1915772"/>
              <a:gd name="connsiteX15" fmla="*/ 1198667 w 3409047"/>
              <a:gd name="connsiteY15" fmla="*/ 1880610 h 1915772"/>
              <a:gd name="connsiteX16" fmla="*/ 1114987 w 3409047"/>
              <a:gd name="connsiteY16" fmla="*/ 1859607 h 1915772"/>
              <a:gd name="connsiteX17" fmla="*/ 1073146 w 3409047"/>
              <a:gd name="connsiteY17" fmla="*/ 1815500 h 1915772"/>
              <a:gd name="connsiteX18" fmla="*/ 1073146 w 3409047"/>
              <a:gd name="connsiteY18" fmla="*/ 1733588 h 1915772"/>
              <a:gd name="connsiteX19" fmla="*/ 1073146 w 3409047"/>
              <a:gd name="connsiteY19" fmla="*/ 1708385 h 1915772"/>
              <a:gd name="connsiteX20" fmla="*/ 1073146 w 3409047"/>
              <a:gd name="connsiteY20" fmla="*/ 1544561 h 1915772"/>
              <a:gd name="connsiteX21" fmla="*/ 1073146 w 3409047"/>
              <a:gd name="connsiteY21" fmla="*/ 1519357 h 1915772"/>
              <a:gd name="connsiteX22" fmla="*/ 958086 w 3409047"/>
              <a:gd name="connsiteY22" fmla="*/ 1355534 h 1915772"/>
              <a:gd name="connsiteX23" fmla="*/ 825592 w 3409047"/>
              <a:gd name="connsiteY23" fmla="*/ 1170707 h 1915772"/>
              <a:gd name="connsiteX24" fmla="*/ 2735 w 3409047"/>
              <a:gd name="connsiteY24" fmla="*/ 28141 h 1915772"/>
              <a:gd name="connsiteX25" fmla="*/ 16682 w 3409047"/>
              <a:gd name="connsiteY25" fmla="*/ 13439 h 1915772"/>
              <a:gd name="connsiteX26" fmla="*/ 414164 w 3409047"/>
              <a:gd name="connsiteY26" fmla="*/ 124755 h 1915772"/>
              <a:gd name="connsiteX27" fmla="*/ 933679 w 3409047"/>
              <a:gd name="connsiteY27" fmla="*/ 196166 h 1915772"/>
              <a:gd name="connsiteX28" fmla="*/ 1700750 w 3409047"/>
              <a:gd name="connsiteY28" fmla="*/ 227670 h 1915772"/>
              <a:gd name="connsiteX29" fmla="*/ 1700750 w 3409047"/>
              <a:gd name="connsiteY29" fmla="*/ 229443 h 1915772"/>
              <a:gd name="connsiteX30" fmla="*/ 1719476 w 3409047"/>
              <a:gd name="connsiteY30" fmla="*/ 220564 h 1915772"/>
              <a:gd name="connsiteX31" fmla="*/ 1753496 w 3409047"/>
              <a:gd name="connsiteY31" fmla="*/ 219514 h 1915772"/>
              <a:gd name="connsiteX32" fmla="*/ 2517638 w 3409047"/>
              <a:gd name="connsiteY32" fmla="*/ 179614 h 1915772"/>
              <a:gd name="connsiteX33" fmla="*/ 3250376 w 3409047"/>
              <a:gd name="connsiteY33" fmla="*/ 49417 h 1915772"/>
              <a:gd name="connsiteX34" fmla="*/ 3355053 w 3409047"/>
              <a:gd name="connsiteY34" fmla="*/ 13718 h 1915772"/>
              <a:gd name="connsiteX35" fmla="*/ 3407391 w 3409047"/>
              <a:gd name="connsiteY35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643250 w 3409047"/>
              <a:gd name="connsiteY2" fmla="*/ 1072096 h 1915772"/>
              <a:gd name="connsiteX3" fmla="*/ 2531595 w 3409047"/>
              <a:gd name="connsiteY3" fmla="*/ 1219093 h 1915772"/>
              <a:gd name="connsiteX4" fmla="*/ 2332708 w 3409047"/>
              <a:gd name="connsiteY4" fmla="*/ 1492088 h 1915772"/>
              <a:gd name="connsiteX5" fmla="*/ 2318751 w 3409047"/>
              <a:gd name="connsiteY5" fmla="*/ 1538287 h 1915772"/>
              <a:gd name="connsiteX6" fmla="*/ 2318751 w 3409047"/>
              <a:gd name="connsiteY6" fmla="*/ 1800782 h 1915772"/>
              <a:gd name="connsiteX7" fmla="*/ 2221053 w 3409047"/>
              <a:gd name="connsiteY7" fmla="*/ 1878480 h 1915772"/>
              <a:gd name="connsiteX8" fmla="*/ 2015188 w 3409047"/>
              <a:gd name="connsiteY8" fmla="*/ 1909979 h 1915772"/>
              <a:gd name="connsiteX9" fmla="*/ 1690690 w 3409047"/>
              <a:gd name="connsiteY9" fmla="*/ 1914179 h 1915772"/>
              <a:gd name="connsiteX10" fmla="*/ 1690509 w 3409047"/>
              <a:gd name="connsiteY10" fmla="*/ 1913790 h 1915772"/>
              <a:gd name="connsiteX11" fmla="*/ 1690289 w 3409047"/>
              <a:gd name="connsiteY11" fmla="*/ 1914215 h 1915772"/>
              <a:gd name="connsiteX12" fmla="*/ 1414841 w 3409047"/>
              <a:gd name="connsiteY12" fmla="*/ 1907914 h 1915772"/>
              <a:gd name="connsiteX13" fmla="*/ 1386948 w 3409047"/>
              <a:gd name="connsiteY13" fmla="*/ 1910014 h 1915772"/>
              <a:gd name="connsiteX14" fmla="*/ 1198667 w 3409047"/>
              <a:gd name="connsiteY14" fmla="*/ 1880610 h 1915772"/>
              <a:gd name="connsiteX15" fmla="*/ 1114987 w 3409047"/>
              <a:gd name="connsiteY15" fmla="*/ 1859607 h 1915772"/>
              <a:gd name="connsiteX16" fmla="*/ 1073146 w 3409047"/>
              <a:gd name="connsiteY16" fmla="*/ 1815500 h 1915772"/>
              <a:gd name="connsiteX17" fmla="*/ 1073146 w 3409047"/>
              <a:gd name="connsiteY17" fmla="*/ 1733588 h 1915772"/>
              <a:gd name="connsiteX18" fmla="*/ 1073146 w 3409047"/>
              <a:gd name="connsiteY18" fmla="*/ 1708385 h 1915772"/>
              <a:gd name="connsiteX19" fmla="*/ 1073146 w 3409047"/>
              <a:gd name="connsiteY19" fmla="*/ 1544561 h 1915772"/>
              <a:gd name="connsiteX20" fmla="*/ 1073146 w 3409047"/>
              <a:gd name="connsiteY20" fmla="*/ 1519357 h 1915772"/>
              <a:gd name="connsiteX21" fmla="*/ 958086 w 3409047"/>
              <a:gd name="connsiteY21" fmla="*/ 1355534 h 1915772"/>
              <a:gd name="connsiteX22" fmla="*/ 825592 w 3409047"/>
              <a:gd name="connsiteY22" fmla="*/ 1170707 h 1915772"/>
              <a:gd name="connsiteX23" fmla="*/ 2735 w 3409047"/>
              <a:gd name="connsiteY23" fmla="*/ 28141 h 1915772"/>
              <a:gd name="connsiteX24" fmla="*/ 16682 w 3409047"/>
              <a:gd name="connsiteY24" fmla="*/ 13439 h 1915772"/>
              <a:gd name="connsiteX25" fmla="*/ 414164 w 3409047"/>
              <a:gd name="connsiteY25" fmla="*/ 124755 h 1915772"/>
              <a:gd name="connsiteX26" fmla="*/ 933679 w 3409047"/>
              <a:gd name="connsiteY26" fmla="*/ 196166 h 1915772"/>
              <a:gd name="connsiteX27" fmla="*/ 1700750 w 3409047"/>
              <a:gd name="connsiteY27" fmla="*/ 227670 h 1915772"/>
              <a:gd name="connsiteX28" fmla="*/ 1700750 w 3409047"/>
              <a:gd name="connsiteY28" fmla="*/ 229443 h 1915772"/>
              <a:gd name="connsiteX29" fmla="*/ 1719476 w 3409047"/>
              <a:gd name="connsiteY29" fmla="*/ 220564 h 1915772"/>
              <a:gd name="connsiteX30" fmla="*/ 1753496 w 3409047"/>
              <a:gd name="connsiteY30" fmla="*/ 219514 h 1915772"/>
              <a:gd name="connsiteX31" fmla="*/ 2517638 w 3409047"/>
              <a:gd name="connsiteY31" fmla="*/ 179614 h 1915772"/>
              <a:gd name="connsiteX32" fmla="*/ 3250376 w 3409047"/>
              <a:gd name="connsiteY32" fmla="*/ 49417 h 1915772"/>
              <a:gd name="connsiteX33" fmla="*/ 3355053 w 3409047"/>
              <a:gd name="connsiteY33" fmla="*/ 13718 h 1915772"/>
              <a:gd name="connsiteX34" fmla="*/ 3407391 w 3409047"/>
              <a:gd name="connsiteY34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531595 w 3409047"/>
              <a:gd name="connsiteY2" fmla="*/ 1219093 h 1915772"/>
              <a:gd name="connsiteX3" fmla="*/ 2332708 w 3409047"/>
              <a:gd name="connsiteY3" fmla="*/ 1492088 h 1915772"/>
              <a:gd name="connsiteX4" fmla="*/ 2318751 w 3409047"/>
              <a:gd name="connsiteY4" fmla="*/ 1538287 h 1915772"/>
              <a:gd name="connsiteX5" fmla="*/ 2318751 w 3409047"/>
              <a:gd name="connsiteY5" fmla="*/ 1800782 h 1915772"/>
              <a:gd name="connsiteX6" fmla="*/ 2221053 w 3409047"/>
              <a:gd name="connsiteY6" fmla="*/ 1878480 h 1915772"/>
              <a:gd name="connsiteX7" fmla="*/ 2015188 w 3409047"/>
              <a:gd name="connsiteY7" fmla="*/ 1909979 h 1915772"/>
              <a:gd name="connsiteX8" fmla="*/ 1690690 w 3409047"/>
              <a:gd name="connsiteY8" fmla="*/ 1914179 h 1915772"/>
              <a:gd name="connsiteX9" fmla="*/ 1690509 w 3409047"/>
              <a:gd name="connsiteY9" fmla="*/ 1913790 h 1915772"/>
              <a:gd name="connsiteX10" fmla="*/ 1690289 w 3409047"/>
              <a:gd name="connsiteY10" fmla="*/ 1914215 h 1915772"/>
              <a:gd name="connsiteX11" fmla="*/ 1414841 w 3409047"/>
              <a:gd name="connsiteY11" fmla="*/ 1907914 h 1915772"/>
              <a:gd name="connsiteX12" fmla="*/ 1386948 w 3409047"/>
              <a:gd name="connsiteY12" fmla="*/ 1910014 h 1915772"/>
              <a:gd name="connsiteX13" fmla="*/ 1198667 w 3409047"/>
              <a:gd name="connsiteY13" fmla="*/ 1880610 h 1915772"/>
              <a:gd name="connsiteX14" fmla="*/ 1114987 w 3409047"/>
              <a:gd name="connsiteY14" fmla="*/ 1859607 h 1915772"/>
              <a:gd name="connsiteX15" fmla="*/ 1073146 w 3409047"/>
              <a:gd name="connsiteY15" fmla="*/ 1815500 h 1915772"/>
              <a:gd name="connsiteX16" fmla="*/ 1073146 w 3409047"/>
              <a:gd name="connsiteY16" fmla="*/ 1733588 h 1915772"/>
              <a:gd name="connsiteX17" fmla="*/ 1073146 w 3409047"/>
              <a:gd name="connsiteY17" fmla="*/ 1708385 h 1915772"/>
              <a:gd name="connsiteX18" fmla="*/ 1073146 w 3409047"/>
              <a:gd name="connsiteY18" fmla="*/ 1544561 h 1915772"/>
              <a:gd name="connsiteX19" fmla="*/ 1073146 w 3409047"/>
              <a:gd name="connsiteY19" fmla="*/ 1519357 h 1915772"/>
              <a:gd name="connsiteX20" fmla="*/ 958086 w 3409047"/>
              <a:gd name="connsiteY20" fmla="*/ 1355534 h 1915772"/>
              <a:gd name="connsiteX21" fmla="*/ 825592 w 3409047"/>
              <a:gd name="connsiteY21" fmla="*/ 1170707 h 1915772"/>
              <a:gd name="connsiteX22" fmla="*/ 2735 w 3409047"/>
              <a:gd name="connsiteY22" fmla="*/ 28141 h 1915772"/>
              <a:gd name="connsiteX23" fmla="*/ 16682 w 3409047"/>
              <a:gd name="connsiteY23" fmla="*/ 13439 h 1915772"/>
              <a:gd name="connsiteX24" fmla="*/ 414164 w 3409047"/>
              <a:gd name="connsiteY24" fmla="*/ 124755 h 1915772"/>
              <a:gd name="connsiteX25" fmla="*/ 933679 w 3409047"/>
              <a:gd name="connsiteY25" fmla="*/ 196166 h 1915772"/>
              <a:gd name="connsiteX26" fmla="*/ 1700750 w 3409047"/>
              <a:gd name="connsiteY26" fmla="*/ 227670 h 1915772"/>
              <a:gd name="connsiteX27" fmla="*/ 1700750 w 3409047"/>
              <a:gd name="connsiteY27" fmla="*/ 229443 h 1915772"/>
              <a:gd name="connsiteX28" fmla="*/ 1719476 w 3409047"/>
              <a:gd name="connsiteY28" fmla="*/ 220564 h 1915772"/>
              <a:gd name="connsiteX29" fmla="*/ 1753496 w 3409047"/>
              <a:gd name="connsiteY29" fmla="*/ 219514 h 1915772"/>
              <a:gd name="connsiteX30" fmla="*/ 2517638 w 3409047"/>
              <a:gd name="connsiteY30" fmla="*/ 179614 h 1915772"/>
              <a:gd name="connsiteX31" fmla="*/ 3250376 w 3409047"/>
              <a:gd name="connsiteY31" fmla="*/ 49417 h 1915772"/>
              <a:gd name="connsiteX32" fmla="*/ 3355053 w 3409047"/>
              <a:gd name="connsiteY32" fmla="*/ 13718 h 1915772"/>
              <a:gd name="connsiteX33" fmla="*/ 3407391 w 3409047"/>
              <a:gd name="connsiteY33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531595 w 3409047"/>
              <a:gd name="connsiteY2" fmla="*/ 1219093 h 1915772"/>
              <a:gd name="connsiteX3" fmla="*/ 2332708 w 3409047"/>
              <a:gd name="connsiteY3" fmla="*/ 1492088 h 1915772"/>
              <a:gd name="connsiteX4" fmla="*/ 2318751 w 3409047"/>
              <a:gd name="connsiteY4" fmla="*/ 1538287 h 1915772"/>
              <a:gd name="connsiteX5" fmla="*/ 2318751 w 3409047"/>
              <a:gd name="connsiteY5" fmla="*/ 1800782 h 1915772"/>
              <a:gd name="connsiteX6" fmla="*/ 2221053 w 3409047"/>
              <a:gd name="connsiteY6" fmla="*/ 1878480 h 1915772"/>
              <a:gd name="connsiteX7" fmla="*/ 2015188 w 3409047"/>
              <a:gd name="connsiteY7" fmla="*/ 1909979 h 1915772"/>
              <a:gd name="connsiteX8" fmla="*/ 1690690 w 3409047"/>
              <a:gd name="connsiteY8" fmla="*/ 1914179 h 1915772"/>
              <a:gd name="connsiteX9" fmla="*/ 1690509 w 3409047"/>
              <a:gd name="connsiteY9" fmla="*/ 1913790 h 1915772"/>
              <a:gd name="connsiteX10" fmla="*/ 1690289 w 3409047"/>
              <a:gd name="connsiteY10" fmla="*/ 1914215 h 1915772"/>
              <a:gd name="connsiteX11" fmla="*/ 1414841 w 3409047"/>
              <a:gd name="connsiteY11" fmla="*/ 1907914 h 1915772"/>
              <a:gd name="connsiteX12" fmla="*/ 1386948 w 3409047"/>
              <a:gd name="connsiteY12" fmla="*/ 1910014 h 1915772"/>
              <a:gd name="connsiteX13" fmla="*/ 1198667 w 3409047"/>
              <a:gd name="connsiteY13" fmla="*/ 1880610 h 1915772"/>
              <a:gd name="connsiteX14" fmla="*/ 1114987 w 3409047"/>
              <a:gd name="connsiteY14" fmla="*/ 1859607 h 1915772"/>
              <a:gd name="connsiteX15" fmla="*/ 1073146 w 3409047"/>
              <a:gd name="connsiteY15" fmla="*/ 1815500 h 1915772"/>
              <a:gd name="connsiteX16" fmla="*/ 1073146 w 3409047"/>
              <a:gd name="connsiteY16" fmla="*/ 1733588 h 1915772"/>
              <a:gd name="connsiteX17" fmla="*/ 1073146 w 3409047"/>
              <a:gd name="connsiteY17" fmla="*/ 1708385 h 1915772"/>
              <a:gd name="connsiteX18" fmla="*/ 1073146 w 3409047"/>
              <a:gd name="connsiteY18" fmla="*/ 1519357 h 1915772"/>
              <a:gd name="connsiteX19" fmla="*/ 958086 w 3409047"/>
              <a:gd name="connsiteY19" fmla="*/ 1355534 h 1915772"/>
              <a:gd name="connsiteX20" fmla="*/ 825592 w 3409047"/>
              <a:gd name="connsiteY20" fmla="*/ 1170707 h 1915772"/>
              <a:gd name="connsiteX21" fmla="*/ 2735 w 3409047"/>
              <a:gd name="connsiteY21" fmla="*/ 28141 h 1915772"/>
              <a:gd name="connsiteX22" fmla="*/ 16682 w 3409047"/>
              <a:gd name="connsiteY22" fmla="*/ 13439 h 1915772"/>
              <a:gd name="connsiteX23" fmla="*/ 414164 w 3409047"/>
              <a:gd name="connsiteY23" fmla="*/ 124755 h 1915772"/>
              <a:gd name="connsiteX24" fmla="*/ 933679 w 3409047"/>
              <a:gd name="connsiteY24" fmla="*/ 196166 h 1915772"/>
              <a:gd name="connsiteX25" fmla="*/ 1700750 w 3409047"/>
              <a:gd name="connsiteY25" fmla="*/ 227670 h 1915772"/>
              <a:gd name="connsiteX26" fmla="*/ 1700750 w 3409047"/>
              <a:gd name="connsiteY26" fmla="*/ 229443 h 1915772"/>
              <a:gd name="connsiteX27" fmla="*/ 1719476 w 3409047"/>
              <a:gd name="connsiteY27" fmla="*/ 220564 h 1915772"/>
              <a:gd name="connsiteX28" fmla="*/ 1753496 w 3409047"/>
              <a:gd name="connsiteY28" fmla="*/ 219514 h 1915772"/>
              <a:gd name="connsiteX29" fmla="*/ 2517638 w 3409047"/>
              <a:gd name="connsiteY29" fmla="*/ 179614 h 1915772"/>
              <a:gd name="connsiteX30" fmla="*/ 3250376 w 3409047"/>
              <a:gd name="connsiteY30" fmla="*/ 49417 h 1915772"/>
              <a:gd name="connsiteX31" fmla="*/ 3355053 w 3409047"/>
              <a:gd name="connsiteY31" fmla="*/ 13718 h 1915772"/>
              <a:gd name="connsiteX32" fmla="*/ 3407391 w 3409047"/>
              <a:gd name="connsiteY32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531595 w 3409047"/>
              <a:gd name="connsiteY2" fmla="*/ 1219093 h 1915772"/>
              <a:gd name="connsiteX3" fmla="*/ 2332708 w 3409047"/>
              <a:gd name="connsiteY3" fmla="*/ 1492088 h 1915772"/>
              <a:gd name="connsiteX4" fmla="*/ 2318751 w 3409047"/>
              <a:gd name="connsiteY4" fmla="*/ 1538287 h 1915772"/>
              <a:gd name="connsiteX5" fmla="*/ 2318751 w 3409047"/>
              <a:gd name="connsiteY5" fmla="*/ 1800782 h 1915772"/>
              <a:gd name="connsiteX6" fmla="*/ 2221053 w 3409047"/>
              <a:gd name="connsiteY6" fmla="*/ 1878480 h 1915772"/>
              <a:gd name="connsiteX7" fmla="*/ 2015188 w 3409047"/>
              <a:gd name="connsiteY7" fmla="*/ 1909979 h 1915772"/>
              <a:gd name="connsiteX8" fmla="*/ 1690690 w 3409047"/>
              <a:gd name="connsiteY8" fmla="*/ 1914179 h 1915772"/>
              <a:gd name="connsiteX9" fmla="*/ 1690509 w 3409047"/>
              <a:gd name="connsiteY9" fmla="*/ 1913790 h 1915772"/>
              <a:gd name="connsiteX10" fmla="*/ 1690289 w 3409047"/>
              <a:gd name="connsiteY10" fmla="*/ 1914215 h 1915772"/>
              <a:gd name="connsiteX11" fmla="*/ 1414841 w 3409047"/>
              <a:gd name="connsiteY11" fmla="*/ 1907914 h 1915772"/>
              <a:gd name="connsiteX12" fmla="*/ 1198667 w 3409047"/>
              <a:gd name="connsiteY12" fmla="*/ 1880610 h 1915772"/>
              <a:gd name="connsiteX13" fmla="*/ 1114987 w 3409047"/>
              <a:gd name="connsiteY13" fmla="*/ 1859607 h 1915772"/>
              <a:gd name="connsiteX14" fmla="*/ 1073146 w 3409047"/>
              <a:gd name="connsiteY14" fmla="*/ 1815500 h 1915772"/>
              <a:gd name="connsiteX15" fmla="*/ 1073146 w 3409047"/>
              <a:gd name="connsiteY15" fmla="*/ 1733588 h 1915772"/>
              <a:gd name="connsiteX16" fmla="*/ 1073146 w 3409047"/>
              <a:gd name="connsiteY16" fmla="*/ 1708385 h 1915772"/>
              <a:gd name="connsiteX17" fmla="*/ 1073146 w 3409047"/>
              <a:gd name="connsiteY17" fmla="*/ 1519357 h 1915772"/>
              <a:gd name="connsiteX18" fmla="*/ 958086 w 3409047"/>
              <a:gd name="connsiteY18" fmla="*/ 1355534 h 1915772"/>
              <a:gd name="connsiteX19" fmla="*/ 825592 w 3409047"/>
              <a:gd name="connsiteY19" fmla="*/ 1170707 h 1915772"/>
              <a:gd name="connsiteX20" fmla="*/ 2735 w 3409047"/>
              <a:gd name="connsiteY20" fmla="*/ 28141 h 1915772"/>
              <a:gd name="connsiteX21" fmla="*/ 16682 w 3409047"/>
              <a:gd name="connsiteY21" fmla="*/ 13439 h 1915772"/>
              <a:gd name="connsiteX22" fmla="*/ 414164 w 3409047"/>
              <a:gd name="connsiteY22" fmla="*/ 124755 h 1915772"/>
              <a:gd name="connsiteX23" fmla="*/ 933679 w 3409047"/>
              <a:gd name="connsiteY23" fmla="*/ 196166 h 1915772"/>
              <a:gd name="connsiteX24" fmla="*/ 1700750 w 3409047"/>
              <a:gd name="connsiteY24" fmla="*/ 227670 h 1915772"/>
              <a:gd name="connsiteX25" fmla="*/ 1700750 w 3409047"/>
              <a:gd name="connsiteY25" fmla="*/ 229443 h 1915772"/>
              <a:gd name="connsiteX26" fmla="*/ 1719476 w 3409047"/>
              <a:gd name="connsiteY26" fmla="*/ 220564 h 1915772"/>
              <a:gd name="connsiteX27" fmla="*/ 1753496 w 3409047"/>
              <a:gd name="connsiteY27" fmla="*/ 219514 h 1915772"/>
              <a:gd name="connsiteX28" fmla="*/ 2517638 w 3409047"/>
              <a:gd name="connsiteY28" fmla="*/ 179614 h 1915772"/>
              <a:gd name="connsiteX29" fmla="*/ 3250376 w 3409047"/>
              <a:gd name="connsiteY29" fmla="*/ 49417 h 1915772"/>
              <a:gd name="connsiteX30" fmla="*/ 3355053 w 3409047"/>
              <a:gd name="connsiteY30" fmla="*/ 13718 h 1915772"/>
              <a:gd name="connsiteX31" fmla="*/ 3407391 w 3409047"/>
              <a:gd name="connsiteY31" fmla="*/ 1118 h 1915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409047" h="1915772">
                <a:moveTo>
                  <a:pt x="3407391" y="1118"/>
                </a:moveTo>
                <a:cubicBezTo>
                  <a:pt x="3417859" y="34717"/>
                  <a:pt x="3375988" y="57817"/>
                  <a:pt x="3358542" y="87216"/>
                </a:cubicBezTo>
                <a:cubicBezTo>
                  <a:pt x="3212576" y="290212"/>
                  <a:pt x="2702567" y="984948"/>
                  <a:pt x="2531595" y="1219093"/>
                </a:cubicBezTo>
                <a:cubicBezTo>
                  <a:pt x="2465299" y="1309392"/>
                  <a:pt x="2402493" y="1401790"/>
                  <a:pt x="2332708" y="1492088"/>
                </a:cubicBezTo>
                <a:cubicBezTo>
                  <a:pt x="2322241" y="1506788"/>
                  <a:pt x="2318751" y="1521487"/>
                  <a:pt x="2318751" y="1538287"/>
                </a:cubicBezTo>
                <a:lnTo>
                  <a:pt x="2318751" y="1800782"/>
                </a:lnTo>
                <a:cubicBezTo>
                  <a:pt x="2318751" y="1851181"/>
                  <a:pt x="2301305" y="1863780"/>
                  <a:pt x="2221053" y="1878480"/>
                </a:cubicBezTo>
                <a:lnTo>
                  <a:pt x="2015188" y="1909979"/>
                </a:lnTo>
                <a:cubicBezTo>
                  <a:pt x="1907022" y="1905779"/>
                  <a:pt x="1798856" y="1920479"/>
                  <a:pt x="1690690" y="1914179"/>
                </a:cubicBezTo>
                <a:cubicBezTo>
                  <a:pt x="1690630" y="1914049"/>
                  <a:pt x="1690569" y="1913920"/>
                  <a:pt x="1690509" y="1913790"/>
                </a:cubicBezTo>
                <a:cubicBezTo>
                  <a:pt x="1690436" y="1913932"/>
                  <a:pt x="1690362" y="1914073"/>
                  <a:pt x="1690289" y="1914215"/>
                </a:cubicBezTo>
                <a:cubicBezTo>
                  <a:pt x="1596149" y="1918415"/>
                  <a:pt x="1505495" y="1910014"/>
                  <a:pt x="1414841" y="1907914"/>
                </a:cubicBezTo>
                <a:cubicBezTo>
                  <a:pt x="1332904" y="1902313"/>
                  <a:pt x="1248643" y="1888661"/>
                  <a:pt x="1198667" y="1880610"/>
                </a:cubicBezTo>
                <a:cubicBezTo>
                  <a:pt x="1170774" y="1874309"/>
                  <a:pt x="1142880" y="1865908"/>
                  <a:pt x="1114987" y="1859607"/>
                </a:cubicBezTo>
                <a:cubicBezTo>
                  <a:pt x="1087093" y="1851205"/>
                  <a:pt x="1069660" y="1836503"/>
                  <a:pt x="1073146" y="1815500"/>
                </a:cubicBezTo>
                <a:lnTo>
                  <a:pt x="1073146" y="1733588"/>
                </a:lnTo>
                <a:cubicBezTo>
                  <a:pt x="1062686" y="1725187"/>
                  <a:pt x="1062686" y="1716786"/>
                  <a:pt x="1073146" y="1708385"/>
                </a:cubicBezTo>
                <a:lnTo>
                  <a:pt x="1073146" y="1519357"/>
                </a:lnTo>
                <a:cubicBezTo>
                  <a:pt x="1031306" y="1464749"/>
                  <a:pt x="996439" y="1410142"/>
                  <a:pt x="958086" y="1355534"/>
                </a:cubicBezTo>
                <a:cubicBezTo>
                  <a:pt x="912759" y="1294625"/>
                  <a:pt x="867432" y="1231616"/>
                  <a:pt x="825592" y="1170707"/>
                </a:cubicBezTo>
                <a:lnTo>
                  <a:pt x="2735" y="28141"/>
                </a:lnTo>
                <a:cubicBezTo>
                  <a:pt x="-4238" y="17640"/>
                  <a:pt x="2735" y="13439"/>
                  <a:pt x="16682" y="13439"/>
                </a:cubicBezTo>
                <a:cubicBezTo>
                  <a:pt x="138716" y="63846"/>
                  <a:pt x="274696" y="97451"/>
                  <a:pt x="414164" y="124755"/>
                </a:cubicBezTo>
                <a:cubicBezTo>
                  <a:pt x="585011" y="156260"/>
                  <a:pt x="755858" y="181463"/>
                  <a:pt x="933679" y="196166"/>
                </a:cubicBezTo>
                <a:cubicBezTo>
                  <a:pt x="1188207" y="217169"/>
                  <a:pt x="1442735" y="229770"/>
                  <a:pt x="1700750" y="227670"/>
                </a:cubicBezTo>
                <a:lnTo>
                  <a:pt x="1700750" y="229443"/>
                </a:lnTo>
                <a:lnTo>
                  <a:pt x="1719476" y="220564"/>
                </a:lnTo>
                <a:cubicBezTo>
                  <a:pt x="1730816" y="218989"/>
                  <a:pt x="1743029" y="219514"/>
                  <a:pt x="1753496" y="219514"/>
                </a:cubicBezTo>
                <a:cubicBezTo>
                  <a:pt x="2011699" y="217414"/>
                  <a:pt x="2266413" y="204814"/>
                  <a:pt x="2517638" y="179614"/>
                </a:cubicBezTo>
                <a:cubicBezTo>
                  <a:pt x="2772351" y="154415"/>
                  <a:pt x="3020087" y="120816"/>
                  <a:pt x="3250376" y="49417"/>
                </a:cubicBezTo>
                <a:cubicBezTo>
                  <a:pt x="3288758" y="38917"/>
                  <a:pt x="3320161" y="26318"/>
                  <a:pt x="3355053" y="13718"/>
                </a:cubicBezTo>
                <a:cubicBezTo>
                  <a:pt x="3369010" y="5318"/>
                  <a:pt x="3382967" y="-3082"/>
                  <a:pt x="3407391" y="11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IBM Plex Sans" panose="020B0503050203000203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E8FB423-E07A-E845-8A56-3525DF01685B}"/>
              </a:ext>
            </a:extLst>
          </p:cNvPr>
          <p:cNvSpPr/>
          <p:nvPr/>
        </p:nvSpPr>
        <p:spPr>
          <a:xfrm>
            <a:off x="3202800" y="3084789"/>
            <a:ext cx="3493410" cy="64127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18" name="Freeform 49">
            <a:extLst>
              <a:ext uri="{FF2B5EF4-FFF2-40B4-BE49-F238E27FC236}">
                <a16:creationId xmlns:a16="http://schemas.microsoft.com/office/drawing/2014/main" id="{B341F3E1-4DEC-5642-AF3C-441538ADA177}"/>
              </a:ext>
            </a:extLst>
          </p:cNvPr>
          <p:cNvSpPr/>
          <p:nvPr/>
        </p:nvSpPr>
        <p:spPr>
          <a:xfrm flipH="1">
            <a:off x="417515" y="2734030"/>
            <a:ext cx="4809188" cy="979944"/>
          </a:xfrm>
          <a:custGeom>
            <a:avLst/>
            <a:gdLst>
              <a:gd name="connsiteX0" fmla="*/ 845343 w 2664620"/>
              <a:gd name="connsiteY0" fmla="*/ 439 h 765809"/>
              <a:gd name="connsiteX1" fmla="*/ 427581 w 2664620"/>
              <a:gd name="connsiteY1" fmla="*/ 439 h 765809"/>
              <a:gd name="connsiteX2" fmla="*/ 0 w 2664620"/>
              <a:gd name="connsiteY2" fmla="*/ 428020 h 765809"/>
              <a:gd name="connsiteX3" fmla="*/ 0 w 2664620"/>
              <a:gd name="connsiteY3" fmla="*/ 765809 h 765809"/>
              <a:gd name="connsiteX4" fmla="*/ 315345 w 2664620"/>
              <a:gd name="connsiteY4" fmla="*/ 765809 h 765809"/>
              <a:gd name="connsiteX5" fmla="*/ 315345 w 2664620"/>
              <a:gd name="connsiteY5" fmla="*/ 428020 h 765809"/>
              <a:gd name="connsiteX6" fmla="*/ 427581 w 2664620"/>
              <a:gd name="connsiteY6" fmla="*/ 315784 h 765809"/>
              <a:gd name="connsiteX7" fmla="*/ 845343 w 2664620"/>
              <a:gd name="connsiteY7" fmla="*/ 315784 h 765809"/>
              <a:gd name="connsiteX8" fmla="*/ 2664620 w 2664620"/>
              <a:gd name="connsiteY8" fmla="*/ 0 h 765809"/>
              <a:gd name="connsiteX9" fmla="*/ 845344 w 2664620"/>
              <a:gd name="connsiteY9" fmla="*/ 0 h 765809"/>
              <a:gd name="connsiteX10" fmla="*/ 845344 w 2664620"/>
              <a:gd name="connsiteY10" fmla="*/ 316706 h 765809"/>
              <a:gd name="connsiteX11" fmla="*/ 2664620 w 2664620"/>
              <a:gd name="connsiteY11" fmla="*/ 316706 h 765809"/>
              <a:gd name="connsiteX0" fmla="*/ 845343 w 2664620"/>
              <a:gd name="connsiteY0" fmla="*/ 439 h 779674"/>
              <a:gd name="connsiteX1" fmla="*/ 427581 w 2664620"/>
              <a:gd name="connsiteY1" fmla="*/ 439 h 779674"/>
              <a:gd name="connsiteX2" fmla="*/ 0 w 2664620"/>
              <a:gd name="connsiteY2" fmla="*/ 428020 h 779674"/>
              <a:gd name="connsiteX3" fmla="*/ 0 w 2664620"/>
              <a:gd name="connsiteY3" fmla="*/ 765809 h 779674"/>
              <a:gd name="connsiteX4" fmla="*/ 242105 w 2664620"/>
              <a:gd name="connsiteY4" fmla="*/ 779653 h 779674"/>
              <a:gd name="connsiteX5" fmla="*/ 315345 w 2664620"/>
              <a:gd name="connsiteY5" fmla="*/ 765809 h 779674"/>
              <a:gd name="connsiteX6" fmla="*/ 315345 w 2664620"/>
              <a:gd name="connsiteY6" fmla="*/ 428020 h 779674"/>
              <a:gd name="connsiteX7" fmla="*/ 427581 w 2664620"/>
              <a:gd name="connsiteY7" fmla="*/ 315784 h 779674"/>
              <a:gd name="connsiteX8" fmla="*/ 845343 w 2664620"/>
              <a:gd name="connsiteY8" fmla="*/ 315784 h 779674"/>
              <a:gd name="connsiteX9" fmla="*/ 845343 w 2664620"/>
              <a:gd name="connsiteY9" fmla="*/ 439 h 779674"/>
              <a:gd name="connsiteX10" fmla="*/ 2664620 w 2664620"/>
              <a:gd name="connsiteY10" fmla="*/ 0 h 779674"/>
              <a:gd name="connsiteX11" fmla="*/ 845344 w 2664620"/>
              <a:gd name="connsiteY11" fmla="*/ 0 h 779674"/>
              <a:gd name="connsiteX12" fmla="*/ 845344 w 2664620"/>
              <a:gd name="connsiteY12" fmla="*/ 316706 h 779674"/>
              <a:gd name="connsiteX13" fmla="*/ 2664620 w 2664620"/>
              <a:gd name="connsiteY13" fmla="*/ 316706 h 779674"/>
              <a:gd name="connsiteX14" fmla="*/ 2664620 w 2664620"/>
              <a:gd name="connsiteY14" fmla="*/ 0 h 779674"/>
              <a:gd name="connsiteX0" fmla="*/ 845343 w 2664620"/>
              <a:gd name="connsiteY0" fmla="*/ 439 h 779674"/>
              <a:gd name="connsiteX1" fmla="*/ 427581 w 2664620"/>
              <a:gd name="connsiteY1" fmla="*/ 439 h 779674"/>
              <a:gd name="connsiteX2" fmla="*/ 0 w 2664620"/>
              <a:gd name="connsiteY2" fmla="*/ 428020 h 779674"/>
              <a:gd name="connsiteX3" fmla="*/ 0 w 2664620"/>
              <a:gd name="connsiteY3" fmla="*/ 765809 h 779674"/>
              <a:gd name="connsiteX4" fmla="*/ 242105 w 2664620"/>
              <a:gd name="connsiteY4" fmla="*/ 779653 h 779674"/>
              <a:gd name="connsiteX5" fmla="*/ 313452 w 2664620"/>
              <a:gd name="connsiteY5" fmla="*/ 773722 h 779674"/>
              <a:gd name="connsiteX6" fmla="*/ 315345 w 2664620"/>
              <a:gd name="connsiteY6" fmla="*/ 428020 h 779674"/>
              <a:gd name="connsiteX7" fmla="*/ 427581 w 2664620"/>
              <a:gd name="connsiteY7" fmla="*/ 315784 h 779674"/>
              <a:gd name="connsiteX8" fmla="*/ 845343 w 2664620"/>
              <a:gd name="connsiteY8" fmla="*/ 315784 h 779674"/>
              <a:gd name="connsiteX9" fmla="*/ 845343 w 2664620"/>
              <a:gd name="connsiteY9" fmla="*/ 439 h 779674"/>
              <a:gd name="connsiteX10" fmla="*/ 2664620 w 2664620"/>
              <a:gd name="connsiteY10" fmla="*/ 0 h 779674"/>
              <a:gd name="connsiteX11" fmla="*/ 845344 w 2664620"/>
              <a:gd name="connsiteY11" fmla="*/ 0 h 779674"/>
              <a:gd name="connsiteX12" fmla="*/ 845344 w 2664620"/>
              <a:gd name="connsiteY12" fmla="*/ 316706 h 779674"/>
              <a:gd name="connsiteX13" fmla="*/ 2664620 w 2664620"/>
              <a:gd name="connsiteY13" fmla="*/ 316706 h 779674"/>
              <a:gd name="connsiteX14" fmla="*/ 2664620 w 2664620"/>
              <a:gd name="connsiteY14" fmla="*/ 0 h 779674"/>
              <a:gd name="connsiteX0" fmla="*/ 849129 w 2668406"/>
              <a:gd name="connsiteY0" fmla="*/ 439 h 779653"/>
              <a:gd name="connsiteX1" fmla="*/ 431367 w 2668406"/>
              <a:gd name="connsiteY1" fmla="*/ 439 h 779653"/>
              <a:gd name="connsiteX2" fmla="*/ 3786 w 2668406"/>
              <a:gd name="connsiteY2" fmla="*/ 428020 h 779653"/>
              <a:gd name="connsiteX3" fmla="*/ 0 w 2668406"/>
              <a:gd name="connsiteY3" fmla="*/ 778997 h 779653"/>
              <a:gd name="connsiteX4" fmla="*/ 245891 w 2668406"/>
              <a:gd name="connsiteY4" fmla="*/ 779653 h 779653"/>
              <a:gd name="connsiteX5" fmla="*/ 317238 w 2668406"/>
              <a:gd name="connsiteY5" fmla="*/ 773722 h 779653"/>
              <a:gd name="connsiteX6" fmla="*/ 319131 w 2668406"/>
              <a:gd name="connsiteY6" fmla="*/ 428020 h 779653"/>
              <a:gd name="connsiteX7" fmla="*/ 431367 w 2668406"/>
              <a:gd name="connsiteY7" fmla="*/ 315784 h 779653"/>
              <a:gd name="connsiteX8" fmla="*/ 849129 w 2668406"/>
              <a:gd name="connsiteY8" fmla="*/ 315784 h 779653"/>
              <a:gd name="connsiteX9" fmla="*/ 849129 w 2668406"/>
              <a:gd name="connsiteY9" fmla="*/ 439 h 779653"/>
              <a:gd name="connsiteX10" fmla="*/ 2668406 w 2668406"/>
              <a:gd name="connsiteY10" fmla="*/ 0 h 779653"/>
              <a:gd name="connsiteX11" fmla="*/ 849130 w 2668406"/>
              <a:gd name="connsiteY11" fmla="*/ 0 h 779653"/>
              <a:gd name="connsiteX12" fmla="*/ 849130 w 2668406"/>
              <a:gd name="connsiteY12" fmla="*/ 316706 h 779653"/>
              <a:gd name="connsiteX13" fmla="*/ 2668406 w 2668406"/>
              <a:gd name="connsiteY13" fmla="*/ 316706 h 779653"/>
              <a:gd name="connsiteX14" fmla="*/ 2668406 w 2668406"/>
              <a:gd name="connsiteY14" fmla="*/ 0 h 779653"/>
              <a:gd name="connsiteX0" fmla="*/ 849129 w 2668406"/>
              <a:gd name="connsiteY0" fmla="*/ 439 h 782354"/>
              <a:gd name="connsiteX1" fmla="*/ 431367 w 2668406"/>
              <a:gd name="connsiteY1" fmla="*/ 439 h 782354"/>
              <a:gd name="connsiteX2" fmla="*/ 3786 w 2668406"/>
              <a:gd name="connsiteY2" fmla="*/ 428020 h 782354"/>
              <a:gd name="connsiteX3" fmla="*/ 0 w 2668406"/>
              <a:gd name="connsiteY3" fmla="*/ 778997 h 782354"/>
              <a:gd name="connsiteX4" fmla="*/ 119052 w 2668406"/>
              <a:gd name="connsiteY4" fmla="*/ 782290 h 782354"/>
              <a:gd name="connsiteX5" fmla="*/ 245891 w 2668406"/>
              <a:gd name="connsiteY5" fmla="*/ 779653 h 782354"/>
              <a:gd name="connsiteX6" fmla="*/ 317238 w 2668406"/>
              <a:gd name="connsiteY6" fmla="*/ 773722 h 782354"/>
              <a:gd name="connsiteX7" fmla="*/ 319131 w 2668406"/>
              <a:gd name="connsiteY7" fmla="*/ 428020 h 782354"/>
              <a:gd name="connsiteX8" fmla="*/ 431367 w 2668406"/>
              <a:gd name="connsiteY8" fmla="*/ 315784 h 782354"/>
              <a:gd name="connsiteX9" fmla="*/ 849129 w 2668406"/>
              <a:gd name="connsiteY9" fmla="*/ 315784 h 782354"/>
              <a:gd name="connsiteX10" fmla="*/ 849129 w 2668406"/>
              <a:gd name="connsiteY10" fmla="*/ 439 h 782354"/>
              <a:gd name="connsiteX11" fmla="*/ 2668406 w 2668406"/>
              <a:gd name="connsiteY11" fmla="*/ 0 h 782354"/>
              <a:gd name="connsiteX12" fmla="*/ 849130 w 2668406"/>
              <a:gd name="connsiteY12" fmla="*/ 0 h 782354"/>
              <a:gd name="connsiteX13" fmla="*/ 849130 w 2668406"/>
              <a:gd name="connsiteY13" fmla="*/ 316706 h 782354"/>
              <a:gd name="connsiteX14" fmla="*/ 2668406 w 2668406"/>
              <a:gd name="connsiteY14" fmla="*/ 316706 h 782354"/>
              <a:gd name="connsiteX15" fmla="*/ 2668406 w 2668406"/>
              <a:gd name="connsiteY15" fmla="*/ 0 h 782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668406" h="782354">
                <a:moveTo>
                  <a:pt x="849129" y="439"/>
                </a:moveTo>
                <a:lnTo>
                  <a:pt x="431367" y="439"/>
                </a:lnTo>
                <a:cubicBezTo>
                  <a:pt x="195221" y="439"/>
                  <a:pt x="3786" y="191874"/>
                  <a:pt x="3786" y="428020"/>
                </a:cubicBezTo>
                <a:lnTo>
                  <a:pt x="0" y="778997"/>
                </a:lnTo>
                <a:cubicBezTo>
                  <a:pt x="40315" y="778336"/>
                  <a:pt x="78737" y="782951"/>
                  <a:pt x="119052" y="782290"/>
                </a:cubicBezTo>
                <a:lnTo>
                  <a:pt x="245891" y="779653"/>
                </a:lnTo>
                <a:lnTo>
                  <a:pt x="317238" y="773722"/>
                </a:lnTo>
                <a:lnTo>
                  <a:pt x="319131" y="428020"/>
                </a:lnTo>
                <a:cubicBezTo>
                  <a:pt x="319131" y="366034"/>
                  <a:pt x="369381" y="315784"/>
                  <a:pt x="431367" y="315784"/>
                </a:cubicBezTo>
                <a:lnTo>
                  <a:pt x="849129" y="315784"/>
                </a:lnTo>
                <a:lnTo>
                  <a:pt x="849129" y="439"/>
                </a:lnTo>
                <a:close/>
                <a:moveTo>
                  <a:pt x="2668406" y="0"/>
                </a:moveTo>
                <a:lnTo>
                  <a:pt x="849130" y="0"/>
                </a:lnTo>
                <a:lnTo>
                  <a:pt x="849130" y="316706"/>
                </a:lnTo>
                <a:lnTo>
                  <a:pt x="2668406" y="316706"/>
                </a:lnTo>
                <a:lnTo>
                  <a:pt x="2668406" y="0"/>
                </a:lnTo>
                <a:close/>
              </a:path>
            </a:pathLst>
          </a:cu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CACC163-8ED5-5643-B79A-3ADB40242E16}"/>
              </a:ext>
            </a:extLst>
          </p:cNvPr>
          <p:cNvSpPr txBox="1"/>
          <p:nvPr/>
        </p:nvSpPr>
        <p:spPr>
          <a:xfrm>
            <a:off x="5902370" y="5444255"/>
            <a:ext cx="2732275" cy="527461"/>
          </a:xfrm>
          <a:prstGeom prst="rect">
            <a:avLst/>
          </a:prstGeom>
          <a:noFill/>
          <a:effectLst/>
        </p:spPr>
        <p:txBody>
          <a:bodyPr wrap="square" lIns="45720" tIns="45720" rIns="45720" bIns="45720" rtlCol="0" anchor="ctr" anchorCtr="0">
            <a:noAutofit/>
          </a:bodyPr>
          <a:lstStyle/>
          <a:p>
            <a:r>
              <a:rPr lang="en-US" b="1" dirty="0">
                <a:solidFill>
                  <a:srgbClr val="612C83"/>
                </a:solidFill>
                <a:latin typeface="IBM Plex Sans" panose="020B05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me important takeaway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F4E3EBA-E0CA-4344-867B-765E9118D202}"/>
              </a:ext>
            </a:extLst>
          </p:cNvPr>
          <p:cNvSpPr txBox="1"/>
          <p:nvPr/>
        </p:nvSpPr>
        <p:spPr>
          <a:xfrm>
            <a:off x="5676629" y="2499603"/>
            <a:ext cx="1429084" cy="18466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rgbClr val="509AAF"/>
                </a:solidFill>
                <a:latin typeface="IBM Plex Sans" panose="020B05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F24BE0-09FC-0C49-A519-4777973DFA1B}"/>
              </a:ext>
            </a:extLst>
          </p:cNvPr>
          <p:cNvSpPr txBox="1"/>
          <p:nvPr/>
        </p:nvSpPr>
        <p:spPr>
          <a:xfrm>
            <a:off x="8392464" y="3573835"/>
            <a:ext cx="968652" cy="18466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rgbClr val="509AAF"/>
                </a:solidFill>
                <a:latin typeface="IBM Plex Sans" panose="020B05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5C618C-06CF-7448-80CD-DA9C5BC87C8F}"/>
              </a:ext>
            </a:extLst>
          </p:cNvPr>
          <p:cNvSpPr txBox="1"/>
          <p:nvPr/>
        </p:nvSpPr>
        <p:spPr>
          <a:xfrm>
            <a:off x="7637025" y="4362881"/>
            <a:ext cx="1029595" cy="184666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rgbClr val="509AAF"/>
                </a:solidFill>
                <a:latin typeface="IBM Plex Sans" panose="020B05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A08EAD8-0EFA-5343-BE5C-FFD361318962}"/>
              </a:ext>
            </a:extLst>
          </p:cNvPr>
          <p:cNvSpPr/>
          <p:nvPr/>
        </p:nvSpPr>
        <p:spPr bwMode="auto">
          <a:xfrm>
            <a:off x="4734367" y="1555795"/>
            <a:ext cx="430826" cy="430826"/>
          </a:xfrm>
          <a:prstGeom prst="ellipse">
            <a:avLst/>
          </a:prstGeom>
          <a:solidFill>
            <a:srgbClr val="612C83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>
                <a:solidFill>
                  <a:schemeClr val="bg1"/>
                </a:solidFill>
                <a:latin typeface="IBM Plex Sans" panose="020B05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s.</a:t>
            </a:r>
            <a:endParaRPr lang="en-US" b="1" dirty="0">
              <a:solidFill>
                <a:schemeClr val="bg1"/>
              </a:solidFill>
              <a:latin typeface="IBM Plex Sans" panose="020B050305020300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C27FD30C-9227-AB49-BFB3-33DA7A7080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23975" y="3457575"/>
            <a:ext cx="762000" cy="7620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B4130E52-F95C-D348-994F-58B150C8D2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4350" y="4676775"/>
            <a:ext cx="762000" cy="762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4F72B1EE-A588-4448-9F1B-37F9399B4A8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52675" y="5514975"/>
            <a:ext cx="762000" cy="7620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5D0FD7F6-0959-F545-AB05-E9BAE567F33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142662" y="2351364"/>
            <a:ext cx="762000" cy="7620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648ED678-93B0-8140-A109-C084E44970C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612169" y="2799965"/>
            <a:ext cx="762000" cy="7620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6EAB605E-577C-CE4D-8295-EDF08F426E4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734425" y="4229100"/>
            <a:ext cx="762000" cy="7620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98C0C75E-AE6E-8A48-9A64-58A185824C8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887507" y="4813300"/>
            <a:ext cx="762000" cy="762000"/>
          </a:xfrm>
          <a:prstGeom prst="rect">
            <a:avLst/>
          </a:prstGeom>
        </p:spPr>
      </p:pic>
      <p:sp>
        <p:nvSpPr>
          <p:cNvPr id="37" name="Rectangle: Rounded Corners 31">
            <a:extLst>
              <a:ext uri="{FF2B5EF4-FFF2-40B4-BE49-F238E27FC236}">
                <a16:creationId xmlns:a16="http://schemas.microsoft.com/office/drawing/2014/main" id="{786BEFF6-C89C-4529-95E8-6DE1EC7003BA}"/>
              </a:ext>
            </a:extLst>
          </p:cNvPr>
          <p:cNvSpPr/>
          <p:nvPr/>
        </p:nvSpPr>
        <p:spPr>
          <a:xfrm>
            <a:off x="5205413" y="1520888"/>
            <a:ext cx="4283074" cy="457200"/>
          </a:xfrm>
          <a:prstGeom prst="round2SameRect">
            <a:avLst/>
          </a:prstGeom>
          <a:solidFill>
            <a:srgbClr val="509AAF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b="1" dirty="0">
                <a:solidFill>
                  <a:schemeClr val="bg1"/>
                </a:solidFill>
                <a:latin typeface="IBM Plex Sans" panose="020B0503050203000203" pitchFamily="34" charset="0"/>
              </a:rPr>
              <a:t>Lorem Ipsum</a:t>
            </a:r>
          </a:p>
        </p:txBody>
      </p:sp>
      <p:sp>
        <p:nvSpPr>
          <p:cNvPr id="38" name="Rectangle: Rounded Corners 35">
            <a:extLst>
              <a:ext uri="{FF2B5EF4-FFF2-40B4-BE49-F238E27FC236}">
                <a16:creationId xmlns:a16="http://schemas.microsoft.com/office/drawing/2014/main" id="{B33C5A37-26ED-4032-937E-C3A057412A65}"/>
              </a:ext>
            </a:extLst>
          </p:cNvPr>
          <p:cNvSpPr/>
          <p:nvPr/>
        </p:nvSpPr>
        <p:spPr>
          <a:xfrm>
            <a:off x="417513" y="1520888"/>
            <a:ext cx="4281590" cy="457200"/>
          </a:xfrm>
          <a:prstGeom prst="round2SameRect">
            <a:avLst/>
          </a:prstGeom>
          <a:solidFill>
            <a:srgbClr val="509AAF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b="1" dirty="0">
                <a:solidFill>
                  <a:schemeClr val="bg1"/>
                </a:solidFill>
                <a:latin typeface="IBM Plex Sans" panose="020B050305020300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0972943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v8_7jyQeSDJAYgCNZm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0_Basis presentation UK">
  <a:themeElements>
    <a:clrScheme name="Custom 11">
      <a:dk1>
        <a:srgbClr val="509AAF"/>
      </a:dk1>
      <a:lt1>
        <a:srgbClr val="FFFFFF"/>
      </a:lt1>
      <a:dk2>
        <a:srgbClr val="F5FFC3"/>
      </a:dk2>
      <a:lt2>
        <a:srgbClr val="7D7D7D"/>
      </a:lt2>
      <a:accent1>
        <a:srgbClr val="612C83"/>
      </a:accent1>
      <a:accent2>
        <a:srgbClr val="D2D2D2"/>
      </a:accent2>
      <a:accent3>
        <a:srgbClr val="BFBFBF"/>
      </a:accent3>
      <a:accent4>
        <a:srgbClr val="7DD8C7"/>
      </a:accent4>
      <a:accent5>
        <a:srgbClr val="303030"/>
      </a:accent5>
      <a:accent6>
        <a:srgbClr val="E7E7EC"/>
      </a:accent6>
      <a:hlink>
        <a:srgbClr val="8C8C8C"/>
      </a:hlink>
      <a:folHlink>
        <a:srgbClr val="000000"/>
      </a:folHlink>
    </a:clrScheme>
    <a:fontScheme name="Custom 1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509AAF"/>
        </a:solidFill>
        <a:ln w="12700">
          <a:noFill/>
          <a:round/>
          <a:headEnd/>
          <a:tailEnd/>
        </a:ln>
      </a:spPr>
      <a:bodyPr wrap="square" lIns="0" tIns="0" rIns="0" bIns="0" rtlCol="0" anchor="ctr">
        <a:noAutofit/>
      </a:bodyPr>
      <a:lstStyle>
        <a:defPPr algn="l">
          <a:defRPr dirty="0">
            <a:solidFill>
              <a:schemeClr val="tx2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M template new colors.pptx" id="{DBF6032C-74CD-4EB8-87D3-6A8A5ADA2D0A}" vid="{6B40890E-3518-4B1D-83AF-0511E7675902}"/>
    </a:ext>
  </a:extLst>
</a:theme>
</file>

<file path=ppt/theme/theme2.xml><?xml version="1.0" encoding="utf-8"?>
<a:theme xmlns:a="http://schemas.openxmlformats.org/drawingml/2006/main" name="Kontortema">
  <a:themeElements>
    <a:clrScheme name="">
      <a:dk1>
        <a:srgbClr val="000066"/>
      </a:dk1>
      <a:lt1>
        <a:srgbClr val="FFFFFF"/>
      </a:lt1>
      <a:dk2>
        <a:srgbClr val="000066"/>
      </a:dk2>
      <a:lt2>
        <a:srgbClr val="000000"/>
      </a:lt2>
      <a:accent1>
        <a:srgbClr val="FFFFFF"/>
      </a:accent1>
      <a:accent2>
        <a:srgbClr val="CDCDCD"/>
      </a:accent2>
      <a:accent3>
        <a:srgbClr val="FFFFFF"/>
      </a:accent3>
      <a:accent4>
        <a:srgbClr val="000056"/>
      </a:accent4>
      <a:accent5>
        <a:srgbClr val="FFFFFF"/>
      </a:accent5>
      <a:accent6>
        <a:srgbClr val="BABABA"/>
      </a:accent6>
      <a:hlink>
        <a:srgbClr val="777777"/>
      </a:hlink>
      <a:folHlink>
        <a:srgbClr val="000066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200F1E51-B117-4DF4-9EE4-7B9C87BB5869}">
  <we:reference id="a761e866-31f6-4676-9a6c-095a3a900831" version="1.0.0.7" store="EXCatalog" storeType="EXCatalog"/>
  <we:alternateReferences>
    <we:reference id="WA200001625" version="1.0.0.7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9ED4FCBFFE2141BEF8D275EC8A6B1F" ma:contentTypeVersion="10" ma:contentTypeDescription="Create a new document." ma:contentTypeScope="" ma:versionID="101d727554ea68a1f860d78d9b6d0120">
  <xsd:schema xmlns:xsd="http://www.w3.org/2001/XMLSchema" xmlns:xs="http://www.w3.org/2001/XMLSchema" xmlns:p="http://schemas.microsoft.com/office/2006/metadata/properties" xmlns:ns2="76bd1358-98cb-4bc6-9b1c-3f3d760f5768" xmlns:ns3="7da3498b-f732-4cff-b8b6-6fbc0cd175e9" targetNamespace="http://schemas.microsoft.com/office/2006/metadata/properties" ma:root="true" ma:fieldsID="e7cae75dc3f9ee10ea3848f6ca6771a9" ns2:_="" ns3:_="">
    <xsd:import namespace="76bd1358-98cb-4bc6-9b1c-3f3d760f5768"/>
    <xsd:import namespace="7da3498b-f732-4cff-b8b6-6fbc0cd175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bd1358-98cb-4bc6-9b1c-3f3d760f57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3498b-f732-4cff-b8b6-6fbc0cd175e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84949EB-D460-447E-BD5D-94A2AD359B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bd1358-98cb-4bc6-9b1c-3f3d760f5768"/>
    <ds:schemaRef ds:uri="7da3498b-f732-4cff-b8b6-6fbc0cd175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E5A6E97-AAA1-4285-AB20-2CE2C74C06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F7512EF-4A56-47BD-98DF-E5835B8FBFFE}">
  <ds:schemaRefs>
    <ds:schemaRef ds:uri="http://purl.org/dc/terms/"/>
    <ds:schemaRef ds:uri="http://schemas.openxmlformats.org/package/2006/metadata/core-properties"/>
    <ds:schemaRef ds:uri="7da3498b-f732-4cff-b8b6-6fbc0cd175e9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6bd1358-98cb-4bc6-9b1c-3f3d760f576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M template new colors</Template>
  <TotalTime>24962</TotalTime>
  <Words>540</Words>
  <Application>Microsoft Office PowerPoint</Application>
  <PresentationFormat>A4 Paper (210x297 mm)</PresentationFormat>
  <Paragraphs>115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Raleway</vt:lpstr>
      <vt:lpstr>Poppins Medium</vt:lpstr>
      <vt:lpstr>IBM Plex Sans Light</vt:lpstr>
      <vt:lpstr>IBM Plex Sans</vt:lpstr>
      <vt:lpstr>IBM Plex Sans SemiBold</vt:lpstr>
      <vt:lpstr>Arial</vt:lpstr>
      <vt:lpstr>Open Sans</vt:lpstr>
      <vt:lpstr>2010_Basis presentation UK</vt:lpstr>
      <vt:lpstr>think-cell Slide</vt:lpstr>
      <vt:lpstr>PowerPoint Presentation</vt:lpstr>
      <vt:lpstr>Title goes here in IBM SemiBold size 24</vt:lpstr>
      <vt:lpstr>Text boxes settings, font types and bullet points </vt:lpstr>
      <vt:lpstr>Colors</vt:lpstr>
      <vt:lpstr>Icons</vt:lpstr>
      <vt:lpstr>Graphs</vt:lpstr>
      <vt:lpstr>PowerPoint Presentation</vt:lpstr>
      <vt:lpstr>Client inspiration 1/4</vt:lpstr>
      <vt:lpstr>Client inspiration 2/4</vt:lpstr>
      <vt:lpstr>Client inspiration 3/4</vt:lpstr>
      <vt:lpstr>Client inspiration 4/4</vt:lpstr>
      <vt:lpstr>PowerPoint Presentation</vt:lpstr>
    </vt:vector>
  </TitlesOfParts>
  <Company>no-m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ers Thomsen</dc:creator>
  <cp:lastModifiedBy>Lucia Benedikovicova</cp:lastModifiedBy>
  <cp:revision>975</cp:revision>
  <cp:lastPrinted>2016-08-13T15:57:21Z</cp:lastPrinted>
  <dcterms:created xsi:type="dcterms:W3CDTF">2016-08-13T12:33:55Z</dcterms:created>
  <dcterms:modified xsi:type="dcterms:W3CDTF">2021-11-10T10:2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106578</vt:lpwstr>
  </property>
  <property fmtid="{D5CDD505-2E9C-101B-9397-08002B2CF9AE}" pid="3" name="NXPowerLiteVersion">
    <vt:lpwstr>D4.1.1</vt:lpwstr>
  </property>
  <property fmtid="{D5CDD505-2E9C-101B-9397-08002B2CF9AE}" pid="4" name="ContentTypeId">
    <vt:lpwstr>0x010100AB9ED4FCBFFE2141BEF8D275EC8A6B1F</vt:lpwstr>
  </property>
</Properties>
</file>